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1.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Override2.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theme/themeOverride3.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theme/themeOverride4.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theme/themeOverride5.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heme/themeOverride6.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heme/themeOverride7.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heme/themeOverride8.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heme/themeOverride9.xml" ContentType="application/vnd.openxmlformats-officedocument.themeOverride+xml"/>
  <Override PartName="/ppt/tags/tag39.xml" ContentType="application/vnd.openxmlformats-officedocument.presentationml.tags+xml"/>
  <Override PartName="/ppt/tags/tag40.xml" ContentType="application/vnd.openxmlformats-officedocument.presentationml.tags+xml"/>
  <Override PartName="/ppt/theme/themeOverride10.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Override11.xml" ContentType="application/vnd.openxmlformats-officedocument.themeOverride+xml"/>
  <Override PartName="/ppt/tags/tag45.xml" ContentType="application/vnd.openxmlformats-officedocument.presentationml.tags+xml"/>
  <Override PartName="/ppt/tags/tag46.xml" ContentType="application/vnd.openxmlformats-officedocument.presentationml.tags+xml"/>
  <Override PartName="/ppt/theme/themeOverride12.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theme/themeOverride13.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Override14.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heme/themeOverride15.xml" ContentType="application/vnd.openxmlformats-officedocument.themeOverr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Override16.xml" ContentType="application/vnd.openxmlformats-officedocument.themeOverride+xml"/>
  <Override PartName="/ppt/tags/tag80.xml" ContentType="application/vnd.openxmlformats-officedocument.presentationml.tags+xml"/>
  <Override PartName="/ppt/tags/tag81.xml" ContentType="application/vnd.openxmlformats-officedocument.presentationml.tags+xml"/>
  <Override PartName="/ppt/theme/themeOverride17.xml" ContentType="application/vnd.openxmlformats-officedocument.themeOverride+xml"/>
  <Override PartName="/ppt/tags/tag82.xml" ContentType="application/vnd.openxmlformats-officedocument.presentationml.tags+xml"/>
  <Override PartName="/ppt/tags/tag83.xml" ContentType="application/vnd.openxmlformats-officedocument.presentationml.tags+xml"/>
  <Override PartName="/ppt/theme/themeOverride18.xml" ContentType="application/vnd.openxmlformats-officedocument.themeOverride+xml"/>
  <Override PartName="/ppt/tags/tag84.xml" ContentType="application/vnd.openxmlformats-officedocument.presentationml.tags+xml"/>
  <Override PartName="/ppt/tags/tag85.xml" ContentType="application/vnd.openxmlformats-officedocument.presentationml.tags+xml"/>
  <Override PartName="/ppt/theme/themeOverride19.xml" ContentType="application/vnd.openxmlformats-officedocument.themeOverride+xml"/>
  <Override PartName="/ppt/tags/tag86.xml" ContentType="application/vnd.openxmlformats-officedocument.presentationml.tags+xml"/>
  <Override PartName="/ppt/tags/tag87.xml" ContentType="application/vnd.openxmlformats-officedocument.presentationml.tags+xml"/>
  <Override PartName="/ppt/theme/themeOverride20.xml" ContentType="application/vnd.openxmlformats-officedocument.themeOverride+xml"/>
  <Override PartName="/ppt/tags/tag88.xml" ContentType="application/vnd.openxmlformats-officedocument.presentationml.tags+xml"/>
  <Override PartName="/ppt/tags/tag89.xml" ContentType="application/vnd.openxmlformats-officedocument.presentationml.tags+xml"/>
  <Override PartName="/ppt/theme/themeOverride21.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theme/themeOverride22.xml" ContentType="application/vnd.openxmlformats-officedocument.themeOverride+xml"/>
  <Override PartName="/ppt/tags/tag92.xml" ContentType="application/vnd.openxmlformats-officedocument.presentationml.tags+xml"/>
  <Override PartName="/ppt/tags/tag93.xml" ContentType="application/vnd.openxmlformats-officedocument.presentationml.tags+xml"/>
  <Override PartName="/ppt/theme/themeOverride23.xml" ContentType="application/vnd.openxmlformats-officedocument.themeOverride+xml"/>
  <Override PartName="/ppt/tags/tag94.xml" ContentType="application/vnd.openxmlformats-officedocument.presentationml.tags+xml"/>
  <Override PartName="/ppt/tags/tag95.xml" ContentType="application/vnd.openxmlformats-officedocument.presentationml.tags+xml"/>
  <Override PartName="/ppt/theme/themeOverride24.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Override25.xml" ContentType="application/vnd.openxmlformats-officedocument.themeOverride+xml"/>
  <Override PartName="/ppt/tags/tag100.xml" ContentType="application/vnd.openxmlformats-officedocument.presentationml.tags+xml"/>
  <Override PartName="/ppt/tags/tag101.xml" ContentType="application/vnd.openxmlformats-officedocument.presentationml.tags+xml"/>
  <Override PartName="/ppt/theme/themeOverride26.xml" ContentType="application/vnd.openxmlformats-officedocument.themeOverride+xml"/>
  <Override PartName="/ppt/tags/tag102.xml" ContentType="application/vnd.openxmlformats-officedocument.presentationml.tags+xml"/>
  <Override PartName="/ppt/tags/tag103.xml" ContentType="application/vnd.openxmlformats-officedocument.presentationml.tags+xml"/>
  <Override PartName="/ppt/theme/themeOverride27.xml" ContentType="application/vnd.openxmlformats-officedocument.themeOverr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heme/themeOverride28.xml" ContentType="application/vnd.openxmlformats-officedocument.themeOverr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heme/themeOverride29.xml" ContentType="application/vnd.openxmlformats-officedocument.themeOverr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heme/themeOverride30.xml" ContentType="application/vnd.openxmlformats-officedocument.themeOverr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heme/themeOverride31.xml" ContentType="application/vnd.openxmlformats-officedocument.themeOverrid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heme/themeOverride32.xml" ContentType="application/vnd.openxmlformats-officedocument.themeOverride+xml"/>
  <Override PartName="/ppt/tags/tag155.xml" ContentType="application/vnd.openxmlformats-officedocument.presentationml.tags+xml"/>
  <Override PartName="/ppt/tags/tag156.xml" ContentType="application/vnd.openxmlformats-officedocument.presentationml.tags+xml"/>
  <Override PartName="/ppt/theme/themeOverride33.xml" ContentType="application/vnd.openxmlformats-officedocument.themeOverride+xml"/>
  <Override PartName="/ppt/tags/tag157.xml" ContentType="application/vnd.openxmlformats-officedocument.presentationml.tags+xml"/>
  <Override PartName="/ppt/tags/tag158.xml" ContentType="application/vnd.openxmlformats-officedocument.presentationml.tags+xml"/>
  <Override PartName="/ppt/theme/themeOverride34.xml" ContentType="application/vnd.openxmlformats-officedocument.themeOverride+xml"/>
  <Override PartName="/ppt/tags/tag159.xml" ContentType="application/vnd.openxmlformats-officedocument.presentationml.tags+xml"/>
  <Override PartName="/ppt/tags/tag160.xml" ContentType="application/vnd.openxmlformats-officedocument.presentationml.tags+xml"/>
  <Override PartName="/ppt/theme/themeOverride35.xml" ContentType="application/vnd.openxmlformats-officedocument.themeOverride+xml"/>
  <Override PartName="/ppt/tags/tag161.xml" ContentType="application/vnd.openxmlformats-officedocument.presentationml.tags+xml"/>
  <Override PartName="/ppt/tags/tag162.xml" ContentType="application/vnd.openxmlformats-officedocument.presentationml.tags+xml"/>
  <Override PartName="/ppt/theme/themeOverride36.xml" ContentType="application/vnd.openxmlformats-officedocument.themeOverride+xml"/>
  <Override PartName="/ppt/tags/tag163.xml" ContentType="application/vnd.openxmlformats-officedocument.presentationml.tags+xml"/>
  <Override PartName="/ppt/tags/tag164.xml" ContentType="application/vnd.openxmlformats-officedocument.presentationml.tags+xml"/>
  <Override PartName="/ppt/theme/themeOverride37.xml" ContentType="application/vnd.openxmlformats-officedocument.themeOverride+xml"/>
  <Override PartName="/ppt/tags/tag165.xml" ContentType="application/vnd.openxmlformats-officedocument.presentationml.tags+xml"/>
  <Override PartName="/ppt/tags/tag166.xml" ContentType="application/vnd.openxmlformats-officedocument.presentationml.tags+xml"/>
  <Override PartName="/ppt/theme/themeOverride38.xml" ContentType="application/vnd.openxmlformats-officedocument.themeOverride+xml"/>
  <Override PartName="/ppt/tags/tag167.xml" ContentType="application/vnd.openxmlformats-officedocument.presentationml.tags+xml"/>
  <Override PartName="/ppt/tags/tag168.xml" ContentType="application/vnd.openxmlformats-officedocument.presentationml.tags+xml"/>
  <Override PartName="/ppt/theme/themeOverride39.xml" ContentType="application/vnd.openxmlformats-officedocument.themeOverride+xml"/>
  <Override PartName="/ppt/tags/tag169.xml" ContentType="application/vnd.openxmlformats-officedocument.presentationml.tags+xml"/>
  <Override PartName="/ppt/tags/tag170.xml" ContentType="application/vnd.openxmlformats-officedocument.presentationml.tags+xml"/>
  <Override PartName="/ppt/theme/themeOverride40.xml" ContentType="application/vnd.openxmlformats-officedocument.themeOverr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heme/themeOverride41.xml" ContentType="application/vnd.openxmlformats-officedocument.themeOverride+xml"/>
  <Override PartName="/ppt/tags/tag175.xml" ContentType="application/vnd.openxmlformats-officedocument.presentationml.tags+xml"/>
  <Override PartName="/ppt/tags/tag176.xml" ContentType="application/vnd.openxmlformats-officedocument.presentationml.tags+xml"/>
  <Override PartName="/ppt/theme/themeOverride42.xml" ContentType="application/vnd.openxmlformats-officedocument.themeOverride+xml"/>
  <Override PartName="/ppt/tags/tag177.xml" ContentType="application/vnd.openxmlformats-officedocument.presentationml.tags+xml"/>
  <Override PartName="/ppt/tags/tag178.xml" ContentType="application/vnd.openxmlformats-officedocument.presentationml.tags+xml"/>
  <Override PartName="/ppt/theme/themeOverride43.xml" ContentType="application/vnd.openxmlformats-officedocument.themeOverr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heme/themeOverride44.xml" ContentType="application/vnd.openxmlformats-officedocument.themeOverr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heme/themeOverride45.xml" ContentType="application/vnd.openxmlformats-officedocument.themeOverr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heme/themeOverride46.xml" ContentType="application/vnd.openxmlformats-officedocument.themeOverride+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heme/themeOverride47.xml" ContentType="application/vnd.openxmlformats-officedocument.themeOverr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heme/themeOverride48.xml" ContentType="application/vnd.openxmlformats-officedocument.themeOverr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heme/themeOverride49.xml" ContentType="application/vnd.openxmlformats-officedocument.themeOverr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heme/themeOverride50.xml" ContentType="application/vnd.openxmlformats-officedocument.themeOverride+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8.xml" ContentType="application/vnd.openxmlformats-officedocument.them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heme/themeOverride51.xml" ContentType="application/vnd.openxmlformats-officedocument.themeOverr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heme/themeOverride52.xml" ContentType="application/vnd.openxmlformats-officedocument.themeOverrid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heme/themeOverride53.xml" ContentType="application/vnd.openxmlformats-officedocument.themeOverrid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heme/themeOverride54.xml" ContentType="application/vnd.openxmlformats-officedocument.themeOverrid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0.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heme/themeOverride55.xml" ContentType="application/vnd.openxmlformats-officedocument.themeOverr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Override56.xml" ContentType="application/vnd.openxmlformats-officedocument.themeOverrid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1.xml" ContentType="application/vnd.openxmlformats-officedocument.them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heme/themeOverride57.xml" ContentType="application/vnd.openxmlformats-officedocument.themeOverr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heme/themeOverride58.xml" ContentType="application/vnd.openxmlformats-officedocument.themeOverr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2.xml" ContentType="application/vnd.openxmlformats-officedocument.them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heme/themeOverride59.xml" ContentType="application/vnd.openxmlformats-officedocument.themeOverr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heme/themeOverride60.xml" ContentType="application/vnd.openxmlformats-officedocument.themeOverrid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3.xml" ContentType="application/vnd.openxmlformats-officedocument.them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heme/themeOverride61.xml" ContentType="application/vnd.openxmlformats-officedocument.themeOverride+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heme/themeOverride62.xml" ContentType="application/vnd.openxmlformats-officedocument.themeOverride+xml"/>
  <Override PartName="/ppt/tags/tag324.xml" ContentType="application/vnd.openxmlformats-officedocument.presentationml.tags+xml"/>
  <Override PartName="/ppt/tags/tag325.xml" ContentType="application/vnd.openxmlformats-officedocument.presentationml.tags+xml"/>
  <Override PartName="/ppt/theme/themeOverride63.xml" ContentType="application/vnd.openxmlformats-officedocument.themeOverride+xml"/>
  <Override PartName="/ppt/tags/tag326.xml" ContentType="application/vnd.openxmlformats-officedocument.presentationml.tags+xml"/>
  <Override PartName="/ppt/tags/tag327.xml" ContentType="application/vnd.openxmlformats-officedocument.presentationml.tags+xml"/>
  <Override PartName="/ppt/theme/themeOverride64.xml" ContentType="application/vnd.openxmlformats-officedocument.themeOverride+xml"/>
  <Override PartName="/ppt/tags/tag328.xml" ContentType="application/vnd.openxmlformats-officedocument.presentationml.tags+xml"/>
  <Override PartName="/ppt/tags/tag329.xml" ContentType="application/vnd.openxmlformats-officedocument.presentationml.tags+xml"/>
  <Override PartName="/ppt/theme/themeOverride65.xml" ContentType="application/vnd.openxmlformats-officedocument.themeOverride+xml"/>
  <Override PartName="/ppt/tags/tag330.xml" ContentType="application/vnd.openxmlformats-officedocument.presentationml.tags+xml"/>
  <Override PartName="/ppt/tags/tag331.xml" ContentType="application/vnd.openxmlformats-officedocument.presentationml.tags+xml"/>
  <Override PartName="/ppt/theme/themeOverride66.xml" ContentType="application/vnd.openxmlformats-officedocument.themeOverride+xml"/>
  <Override PartName="/ppt/tags/tag332.xml" ContentType="application/vnd.openxmlformats-officedocument.presentationml.tags+xml"/>
  <Override PartName="/ppt/tags/tag333.xml" ContentType="application/vnd.openxmlformats-officedocument.presentationml.tags+xml"/>
  <Override PartName="/ppt/theme/themeOverride67.xml" ContentType="application/vnd.openxmlformats-officedocument.themeOverride+xml"/>
  <Override PartName="/ppt/tags/tag334.xml" ContentType="application/vnd.openxmlformats-officedocument.presentationml.tags+xml"/>
  <Override PartName="/ppt/tags/tag335.xml" ContentType="application/vnd.openxmlformats-officedocument.presentationml.tags+xml"/>
  <Override PartName="/ppt/theme/themeOverride68.xml" ContentType="application/vnd.openxmlformats-officedocument.themeOverride+xml"/>
  <Override PartName="/ppt/tags/tag336.xml" ContentType="application/vnd.openxmlformats-officedocument.presentationml.tags+xml"/>
  <Override PartName="/ppt/tags/tag337.xml" ContentType="application/vnd.openxmlformats-officedocument.presentationml.tags+xml"/>
  <Override PartName="/ppt/theme/themeOverride69.xml" ContentType="application/vnd.openxmlformats-officedocument.themeOverride+xml"/>
  <Override PartName="/ppt/tags/tag338.xml" ContentType="application/vnd.openxmlformats-officedocument.presentationml.tags+xml"/>
  <Override PartName="/ppt/tags/tag339.xml" ContentType="application/vnd.openxmlformats-officedocument.presentationml.tags+xml"/>
  <Override PartName="/ppt/theme/themeOverride70.xml" ContentType="application/vnd.openxmlformats-officedocument.themeOverride+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heme/themeOverride71.xml" ContentType="application/vnd.openxmlformats-officedocument.themeOverride+xml"/>
  <Override PartName="/ppt/tags/tag344.xml" ContentType="application/vnd.openxmlformats-officedocument.presentationml.tags+xml"/>
  <Override PartName="/ppt/tags/tag345.xml" ContentType="application/vnd.openxmlformats-officedocument.presentationml.tags+xml"/>
  <Override PartName="/ppt/theme/themeOverride72.xml" ContentType="application/vnd.openxmlformats-officedocument.themeOverride+xml"/>
  <Override PartName="/ppt/tags/tag346.xml" ContentType="application/vnd.openxmlformats-officedocument.presentationml.tags+xml"/>
  <Override PartName="/ppt/tags/tag347.xml" ContentType="application/vnd.openxmlformats-officedocument.presentationml.tags+xml"/>
  <Override PartName="/ppt/theme/themeOverride73.xml" ContentType="application/vnd.openxmlformats-officedocument.themeOverride+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heme/themeOverride74.xml" ContentType="application/vnd.openxmlformats-officedocument.themeOverride+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4.xml" ContentType="application/vnd.openxmlformats-officedocument.theme+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heme/themeOverride75.xml" ContentType="application/vnd.openxmlformats-officedocument.themeOverride+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heme/themeOverride76.xml" ContentType="application/vnd.openxmlformats-officedocument.themeOverride+xml"/>
  <Override PartName="/ppt/tags/tag379.xml" ContentType="application/vnd.openxmlformats-officedocument.presentationml.tags+xml"/>
  <Override PartName="/ppt/tags/tag380.xml" ContentType="application/vnd.openxmlformats-officedocument.presentationml.tags+xml"/>
  <Override PartName="/ppt/theme/themeOverride77.xml" ContentType="application/vnd.openxmlformats-officedocument.themeOverride+xml"/>
  <Override PartName="/ppt/tags/tag381.xml" ContentType="application/vnd.openxmlformats-officedocument.presentationml.tags+xml"/>
  <Override PartName="/ppt/tags/tag382.xml" ContentType="application/vnd.openxmlformats-officedocument.presentationml.tags+xml"/>
  <Override PartName="/ppt/theme/themeOverride78.xml" ContentType="application/vnd.openxmlformats-officedocument.themeOverride+xml"/>
  <Override PartName="/ppt/tags/tag383.xml" ContentType="application/vnd.openxmlformats-officedocument.presentationml.tags+xml"/>
  <Override PartName="/ppt/tags/tag384.xml" ContentType="application/vnd.openxmlformats-officedocument.presentationml.tags+xml"/>
  <Override PartName="/ppt/theme/themeOverride79.xml" ContentType="application/vnd.openxmlformats-officedocument.themeOverride+xml"/>
  <Override PartName="/ppt/tags/tag385.xml" ContentType="application/vnd.openxmlformats-officedocument.presentationml.tags+xml"/>
  <Override PartName="/ppt/tags/tag386.xml" ContentType="application/vnd.openxmlformats-officedocument.presentationml.tags+xml"/>
  <Override PartName="/ppt/theme/themeOverride80.xml" ContentType="application/vnd.openxmlformats-officedocument.themeOverride+xml"/>
  <Override PartName="/ppt/tags/tag387.xml" ContentType="application/vnd.openxmlformats-officedocument.presentationml.tags+xml"/>
  <Override PartName="/ppt/tags/tag388.xml" ContentType="application/vnd.openxmlformats-officedocument.presentationml.tags+xml"/>
  <Override PartName="/ppt/theme/themeOverride81.xml" ContentType="application/vnd.openxmlformats-officedocument.themeOverride+xml"/>
  <Override PartName="/ppt/tags/tag389.xml" ContentType="application/vnd.openxmlformats-officedocument.presentationml.tags+xml"/>
  <Override PartName="/ppt/tags/tag390.xml" ContentType="application/vnd.openxmlformats-officedocument.presentationml.tags+xml"/>
  <Override PartName="/ppt/theme/themeOverride82.xml" ContentType="application/vnd.openxmlformats-officedocument.themeOverride+xml"/>
  <Override PartName="/ppt/tags/tag391.xml" ContentType="application/vnd.openxmlformats-officedocument.presentationml.tags+xml"/>
  <Override PartName="/ppt/tags/tag392.xml" ContentType="application/vnd.openxmlformats-officedocument.presentationml.tags+xml"/>
  <Override PartName="/ppt/theme/themeOverride83.xml" ContentType="application/vnd.openxmlformats-officedocument.themeOverride+xml"/>
  <Override PartName="/ppt/tags/tag393.xml" ContentType="application/vnd.openxmlformats-officedocument.presentationml.tags+xml"/>
  <Override PartName="/ppt/tags/tag394.xml" ContentType="application/vnd.openxmlformats-officedocument.presentationml.tags+xml"/>
  <Override PartName="/ppt/theme/themeOverride84.xml" ContentType="application/vnd.openxmlformats-officedocument.themeOverrid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heme/themeOverride85.xml" ContentType="application/vnd.openxmlformats-officedocument.themeOverride+xml"/>
  <Override PartName="/ppt/tags/tag399.xml" ContentType="application/vnd.openxmlformats-officedocument.presentationml.tags+xml"/>
  <Override PartName="/ppt/tags/tag400.xml" ContentType="application/vnd.openxmlformats-officedocument.presentationml.tags+xml"/>
  <Override PartName="/ppt/theme/themeOverride86.xml" ContentType="application/vnd.openxmlformats-officedocument.themeOverride+xml"/>
  <Override PartName="/ppt/tags/tag401.xml" ContentType="application/vnd.openxmlformats-officedocument.presentationml.tags+xml"/>
  <Override PartName="/ppt/tags/tag402.xml" ContentType="application/vnd.openxmlformats-officedocument.presentationml.tags+xml"/>
  <Override PartName="/ppt/theme/themeOverride87.xml" ContentType="application/vnd.openxmlformats-officedocument.themeOverride+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heme/themeOverride88.xml" ContentType="application/vnd.openxmlformats-officedocument.themeOverride+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5.xml" ContentType="application/vnd.openxmlformats-officedocument.theme+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heme/themeOverride89.xml" ContentType="application/vnd.openxmlformats-officedocument.themeOverride+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heme/themeOverride90.xml" ContentType="application/vnd.openxmlformats-officedocument.themeOverride+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6.xml" ContentType="application/vnd.openxmlformats-officedocument.theme+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heme/themeOverride91.xml" ContentType="application/vnd.openxmlformats-officedocument.themeOverride+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heme/themeOverride92.xml" ContentType="application/vnd.openxmlformats-officedocument.themeOverride+xml"/>
  <Override PartName="/ppt/tags/tag445.xml" ContentType="application/vnd.openxmlformats-officedocument.presentationml.tags+xml"/>
  <Override PartName="/ppt/tags/tag446.xml" ContentType="application/vnd.openxmlformats-officedocument.presentationml.tags+xml"/>
  <Override PartName="/ppt/theme/themeOverride93.xml" ContentType="application/vnd.openxmlformats-officedocument.themeOverride+xml"/>
  <Override PartName="/ppt/tags/tag447.xml" ContentType="application/vnd.openxmlformats-officedocument.presentationml.tags+xml"/>
  <Override PartName="/ppt/tags/tag448.xml" ContentType="application/vnd.openxmlformats-officedocument.presentationml.tags+xml"/>
  <Override PartName="/ppt/theme/themeOverride94.xml" ContentType="application/vnd.openxmlformats-officedocument.themeOverride+xml"/>
  <Override PartName="/ppt/tags/tag449.xml" ContentType="application/vnd.openxmlformats-officedocument.presentationml.tags+xml"/>
  <Override PartName="/ppt/tags/tag450.xml" ContentType="application/vnd.openxmlformats-officedocument.presentationml.tags+xml"/>
  <Override PartName="/ppt/theme/themeOverride95.xml" ContentType="application/vnd.openxmlformats-officedocument.themeOverride+xml"/>
  <Override PartName="/ppt/tags/tag451.xml" ContentType="application/vnd.openxmlformats-officedocument.presentationml.tags+xml"/>
  <Override PartName="/ppt/tags/tag452.xml" ContentType="application/vnd.openxmlformats-officedocument.presentationml.tags+xml"/>
  <Override PartName="/ppt/theme/themeOverride96.xml" ContentType="application/vnd.openxmlformats-officedocument.themeOverride+xml"/>
  <Override PartName="/ppt/tags/tag453.xml" ContentType="application/vnd.openxmlformats-officedocument.presentationml.tags+xml"/>
  <Override PartName="/ppt/tags/tag454.xml" ContentType="application/vnd.openxmlformats-officedocument.presentationml.tags+xml"/>
  <Override PartName="/ppt/theme/themeOverride97.xml" ContentType="application/vnd.openxmlformats-officedocument.themeOverride+xml"/>
  <Override PartName="/ppt/tags/tag455.xml" ContentType="application/vnd.openxmlformats-officedocument.presentationml.tags+xml"/>
  <Override PartName="/ppt/tags/tag456.xml" ContentType="application/vnd.openxmlformats-officedocument.presentationml.tags+xml"/>
  <Override PartName="/ppt/theme/themeOverride98.xml" ContentType="application/vnd.openxmlformats-officedocument.themeOverride+xml"/>
  <Override PartName="/ppt/tags/tag457.xml" ContentType="application/vnd.openxmlformats-officedocument.presentationml.tags+xml"/>
  <Override PartName="/ppt/tags/tag458.xml" ContentType="application/vnd.openxmlformats-officedocument.presentationml.tags+xml"/>
  <Override PartName="/ppt/theme/themeOverride99.xml" ContentType="application/vnd.openxmlformats-officedocument.themeOverride+xml"/>
  <Override PartName="/ppt/tags/tag459.xml" ContentType="application/vnd.openxmlformats-officedocument.presentationml.tags+xml"/>
  <Override PartName="/ppt/tags/tag460.xml" ContentType="application/vnd.openxmlformats-officedocument.presentationml.tags+xml"/>
  <Override PartName="/ppt/theme/themeOverride100.xml" ContentType="application/vnd.openxmlformats-officedocument.themeOverride+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heme/themeOverride101.xml" ContentType="application/vnd.openxmlformats-officedocument.themeOverride+xml"/>
  <Override PartName="/ppt/tags/tag465.xml" ContentType="application/vnd.openxmlformats-officedocument.presentationml.tags+xml"/>
  <Override PartName="/ppt/tags/tag466.xml" ContentType="application/vnd.openxmlformats-officedocument.presentationml.tags+xml"/>
  <Override PartName="/ppt/theme/themeOverride102.xml" ContentType="application/vnd.openxmlformats-officedocument.themeOverride+xml"/>
  <Override PartName="/ppt/tags/tag467.xml" ContentType="application/vnd.openxmlformats-officedocument.presentationml.tags+xml"/>
  <Override PartName="/ppt/tags/tag468.xml" ContentType="application/vnd.openxmlformats-officedocument.presentationml.tags+xml"/>
  <Override PartName="/ppt/theme/themeOverride103.xml" ContentType="application/vnd.openxmlformats-officedocument.themeOverride+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heme/themeOverride104.xml" ContentType="application/vnd.openxmlformats-officedocument.themeOverride+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7.xml" ContentType="application/vnd.openxmlformats-officedocument.theme+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heme/themeOverride105.xml" ContentType="application/vnd.openxmlformats-officedocument.themeOverride+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heme/themeOverride106.xml" ContentType="application/vnd.openxmlformats-officedocument.themeOverride+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heme/themeOverride107.xml" ContentType="application/vnd.openxmlformats-officedocument.themeOverride+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heme/themeOverride108.xml" ContentType="application/vnd.openxmlformats-officedocument.themeOverride+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9.xml" ContentType="application/vnd.openxmlformats-officedocument.theme+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heme/themeOverride109.xml" ContentType="application/vnd.openxmlformats-officedocument.themeOverride+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heme/themeOverride110.xml" ContentType="application/vnd.openxmlformats-officedocument.themeOverride+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heme/theme20.xml" ContentType="application/vnd.openxmlformats-officedocument.theme+xml"/>
  <Override PartName="/ppt/tags/tag522.xml" ContentType="application/vnd.openxmlformats-officedocument.presentationml.tags+xml"/>
  <Override PartName="/ppt/tags/tag523.xml" ContentType="application/vnd.openxmlformats-officedocument.presentationml.tags+xml"/>
  <Override PartName="/ppt/notesSlides/notesSlide1.xml" ContentType="application/vnd.openxmlformats-officedocument.presentationml.notesSlide+xml"/>
  <Override PartName="/ppt/theme/themeOverride111.xml" ContentType="application/vnd.openxmlformats-officedocument.themeOverride+xml"/>
  <Override PartName="/ppt/notesSlides/notesSlide2.xml" ContentType="application/vnd.openxmlformats-officedocument.presentationml.notesSlide+xml"/>
  <Override PartName="/ppt/theme/themeOverride112.xml" ContentType="application/vnd.openxmlformats-officedocument.themeOverride+xml"/>
  <Override PartName="/ppt/notesSlides/notesSlide3.xml" ContentType="application/vnd.openxmlformats-officedocument.presentationml.notesSlide+xml"/>
  <Override PartName="/ppt/theme/themeOverride113.xml" ContentType="application/vnd.openxmlformats-officedocument.themeOverride+xml"/>
  <Override PartName="/ppt/notesSlides/notesSlide4.xml" ContentType="application/vnd.openxmlformats-officedocument.presentationml.notesSlide+xml"/>
  <Override PartName="/ppt/theme/themeOverride114.xml" ContentType="application/vnd.openxmlformats-officedocument.themeOverr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901" r:id="rId5"/>
    <p:sldMasterId id="2147483935" r:id="rId6"/>
    <p:sldMasterId id="2147483945" r:id="rId7"/>
    <p:sldMasterId id="2147483980" r:id="rId8"/>
    <p:sldMasterId id="2147483991" r:id="rId9"/>
    <p:sldMasterId id="2147484002" r:id="rId10"/>
    <p:sldMasterId id="2147484013" r:id="rId11"/>
    <p:sldMasterId id="2147484024" r:id="rId12"/>
    <p:sldMasterId id="2147484035" r:id="rId13"/>
    <p:sldMasterId id="2147484044" r:id="rId14"/>
    <p:sldMasterId id="2147484053" r:id="rId15"/>
    <p:sldMasterId id="2147484062" r:id="rId16"/>
    <p:sldMasterId id="2147484093" r:id="rId17"/>
    <p:sldMasterId id="2147484124" r:id="rId18"/>
    <p:sldMasterId id="2147484134" r:id="rId19"/>
    <p:sldMasterId id="2147484165" r:id="rId20"/>
    <p:sldMasterId id="2147484175" r:id="rId21"/>
    <p:sldMasterId id="2147484185" r:id="rId22"/>
  </p:sldMasterIdLst>
  <p:notesMasterIdLst>
    <p:notesMasterId r:id="rId28"/>
  </p:notesMasterIdLst>
  <p:sldIdLst>
    <p:sldId id="257" r:id="rId23"/>
    <p:sldId id="2146849695" r:id="rId24"/>
    <p:sldId id="2146849698" r:id="rId25"/>
    <p:sldId id="2146849699" r:id="rId26"/>
    <p:sldId id="2146849694"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6809"/>
    <a:srgbClr val="C8A39D"/>
    <a:srgbClr val="8A0000"/>
    <a:srgbClr val="9895A4"/>
    <a:srgbClr val="00B050"/>
    <a:srgbClr val="A699A2"/>
    <a:srgbClr val="8C4606"/>
    <a:srgbClr val="00CCFF"/>
    <a:srgbClr val="F68D2E"/>
    <a:srgbClr val="C88A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269" autoAdjust="0"/>
    <p:restoredTop sz="86427" autoAdjust="0"/>
  </p:normalViewPr>
  <p:slideViewPr>
    <p:cSldViewPr snapToGrid="0">
      <p:cViewPr varScale="1">
        <p:scale>
          <a:sx n="82" d="100"/>
          <a:sy n="82" d="100"/>
        </p:scale>
        <p:origin x="168" y="448"/>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 Type="http://schemas.openxmlformats.org/officeDocument/2006/relationships/customXml" Target="../customXml/item3.xml"/><Relationship Id="rId21" Type="http://schemas.openxmlformats.org/officeDocument/2006/relationships/slideMaster" Target="slideMasters/slideMaster18.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presProps" Target="pres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A13931-2AC2-4A34-BF92-EDB085C9A7FB}" type="datetimeFigureOut">
              <a:rPr lang="en-US" smtClean="0"/>
              <a:t>10/9/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EC7D058-375F-4ADF-8C3F-DEAD235BED9A}" type="slidenum">
              <a:rPr lang="en-US" smtClean="0"/>
              <a:t>‹#›</a:t>
            </a:fld>
            <a:endParaRPr lang="en-US"/>
          </a:p>
        </p:txBody>
      </p:sp>
    </p:spTree>
    <p:extLst>
      <p:ext uri="{BB962C8B-B14F-4D97-AF65-F5344CB8AC3E}">
        <p14:creationId xmlns:p14="http://schemas.microsoft.com/office/powerpoint/2010/main" val="757675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algn="r" defTabSz="914400" rtl="1" eaLnBrk="1" latinLnBrk="0" hangingPunct="1"/>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Arial" panose="020B0604020202020204" pitchFamily="34" charset="0"/>
                <a:ea typeface="+mn-ea"/>
                <a:cs typeface="Arial" panose="020B0604020202020204" pitchFamily="34" charset="0"/>
                <a:sym typeface="Arial" panose="020B0604020202020204" pitchFamily="34" charset="0"/>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a:ln>
                <a:noFill/>
              </a:ln>
              <a:solidFill>
                <a:srgbClr val="6E6F73"/>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577255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r" defTabSz="914400" rtl="1" eaLnBrk="1" latinLnBrk="0" hangingPunct="1">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D5EA50-4560-4F16-88BA-AE109D30D6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8082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r" defTabSz="914400" rtl="1" eaLnBrk="1" latinLnBrk="0" hangingPunct="1">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D5EA50-4560-4F16-88BA-AE109D30D6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3101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r" defTabSz="914400" rtl="1" eaLnBrk="1" latinLnBrk="0" hangingPunct="1">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D5EA50-4560-4F16-88BA-AE109D30D6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1269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r" defTabSz="914400" rtl="1" eaLnBrk="1" latinLnBrk="0" hangingPunct="1">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D5EA50-4560-4F16-88BA-AE109D30D6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48699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7.emf"/><Relationship Id="rId2" Type="http://schemas.openxmlformats.org/officeDocument/2006/relationships/tags" Target="../tags/tag185.xml"/><Relationship Id="rId1" Type="http://schemas.openxmlformats.org/officeDocument/2006/relationships/vmlDrawing" Target="../drawings/vmlDrawing102.vml"/><Relationship Id="rId6" Type="http://schemas.openxmlformats.org/officeDocument/2006/relationships/oleObject" Target="../embeddings/oleObject102.bin"/><Relationship Id="rId5" Type="http://schemas.openxmlformats.org/officeDocument/2006/relationships/image" Target="../media/image12.jpeg"/><Relationship Id="rId4"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190.xml"/><Relationship Id="rId7" Type="http://schemas.openxmlformats.org/officeDocument/2006/relationships/image" Target="../media/image5.png"/><Relationship Id="rId2" Type="http://schemas.openxmlformats.org/officeDocument/2006/relationships/tags" Target="../tags/tag189.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vmlDrawing" Target="../drawings/vmlDrawing105.vml"/><Relationship Id="rId1" Type="http://schemas.openxmlformats.org/officeDocument/2006/relationships/themeOverride" Target="../theme/themeOverride45.xml"/><Relationship Id="rId6" Type="http://schemas.openxmlformats.org/officeDocument/2006/relationships/image" Target="../media/image7.emf"/><Relationship Id="rId5" Type="http://schemas.openxmlformats.org/officeDocument/2006/relationships/oleObject" Target="../embeddings/oleObject105.bin"/><Relationship Id="rId4"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5.jpeg"/><Relationship Id="rId2" Type="http://schemas.openxmlformats.org/officeDocument/2006/relationships/tags" Target="../tags/tag192.xml"/><Relationship Id="rId1" Type="http://schemas.openxmlformats.org/officeDocument/2006/relationships/vmlDrawing" Target="../drawings/vmlDrawing106.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106.bin"/></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vmlDrawing" Target="../drawings/vmlDrawing107.vml"/><Relationship Id="rId6" Type="http://schemas.openxmlformats.org/officeDocument/2006/relationships/image" Target="../media/image7.emf"/><Relationship Id="rId5" Type="http://schemas.openxmlformats.org/officeDocument/2006/relationships/oleObject" Target="../embeddings/oleObject107.bin"/><Relationship Id="rId4"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95.xml"/><Relationship Id="rId2" Type="http://schemas.openxmlformats.org/officeDocument/2006/relationships/vmlDrawing" Target="../drawings/vmlDrawing108.vml"/><Relationship Id="rId1" Type="http://schemas.openxmlformats.org/officeDocument/2006/relationships/themeOverride" Target="../theme/themeOverride46.xml"/><Relationship Id="rId6" Type="http://schemas.openxmlformats.org/officeDocument/2006/relationships/image" Target="../media/image7.emf"/><Relationship Id="rId5" Type="http://schemas.openxmlformats.org/officeDocument/2006/relationships/oleObject" Target="../embeddings/oleObject108.bin"/><Relationship Id="rId4"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vmlDrawing" Target="../drawings/vmlDrawing109.vml"/><Relationship Id="rId6" Type="http://schemas.openxmlformats.org/officeDocument/2006/relationships/image" Target="../media/image7.emf"/><Relationship Id="rId5" Type="http://schemas.openxmlformats.org/officeDocument/2006/relationships/oleObject" Target="../embeddings/oleObject109.bin"/><Relationship Id="rId4"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7.emf"/><Relationship Id="rId2" Type="http://schemas.openxmlformats.org/officeDocument/2006/relationships/tags" Target="../tags/tag198.xml"/><Relationship Id="rId1" Type="http://schemas.openxmlformats.org/officeDocument/2006/relationships/vmlDrawing" Target="../drawings/vmlDrawing110.vml"/><Relationship Id="rId6" Type="http://schemas.openxmlformats.org/officeDocument/2006/relationships/oleObject" Target="../embeddings/oleObject110.bin"/><Relationship Id="rId5" Type="http://schemas.openxmlformats.org/officeDocument/2006/relationships/image" Target="../media/image17.jpeg"/><Relationship Id="rId4"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vmlDrawing" Target="../drawings/vmlDrawing111.vml"/><Relationship Id="rId6" Type="http://schemas.openxmlformats.org/officeDocument/2006/relationships/image" Target="../media/image7.emf"/><Relationship Id="rId5" Type="http://schemas.openxmlformats.org/officeDocument/2006/relationships/oleObject" Target="../embeddings/oleObject111.bin"/><Relationship Id="rId4"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vmlDrawing" Target="../drawings/vmlDrawing12.vml"/><Relationship Id="rId1" Type="http://schemas.openxmlformats.org/officeDocument/2006/relationships/themeOverride" Target="../theme/themeOverride1.x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205.xml"/><Relationship Id="rId7" Type="http://schemas.openxmlformats.org/officeDocument/2006/relationships/image" Target="../media/image5.png"/><Relationship Id="rId2" Type="http://schemas.openxmlformats.org/officeDocument/2006/relationships/tags" Target="../tags/tag204.xml"/><Relationship Id="rId1" Type="http://schemas.openxmlformats.org/officeDocument/2006/relationships/vmlDrawing" Target="../drawings/vmlDrawing113.vml"/><Relationship Id="rId6" Type="http://schemas.openxmlformats.org/officeDocument/2006/relationships/image" Target="../media/image2.emf"/><Relationship Id="rId5" Type="http://schemas.openxmlformats.org/officeDocument/2006/relationships/oleObject" Target="../embeddings/oleObject113.bin"/><Relationship Id="rId4"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206.xml"/><Relationship Id="rId2" Type="http://schemas.openxmlformats.org/officeDocument/2006/relationships/vmlDrawing" Target="../drawings/vmlDrawing114.vml"/><Relationship Id="rId1" Type="http://schemas.openxmlformats.org/officeDocument/2006/relationships/themeOverride" Target="../theme/themeOverride47.xml"/><Relationship Id="rId6" Type="http://schemas.openxmlformats.org/officeDocument/2006/relationships/image" Target="../media/image7.emf"/><Relationship Id="rId5" Type="http://schemas.openxmlformats.org/officeDocument/2006/relationships/oleObject" Target="../embeddings/oleObject114.bin"/><Relationship Id="rId4"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5.jpeg"/><Relationship Id="rId2" Type="http://schemas.openxmlformats.org/officeDocument/2006/relationships/tags" Target="../tags/tag207.xml"/><Relationship Id="rId1" Type="http://schemas.openxmlformats.org/officeDocument/2006/relationships/vmlDrawing" Target="../drawings/vmlDrawing115.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115.bin"/></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116.vml"/><Relationship Id="rId6" Type="http://schemas.openxmlformats.org/officeDocument/2006/relationships/image" Target="../media/image7.emf"/><Relationship Id="rId5" Type="http://schemas.openxmlformats.org/officeDocument/2006/relationships/oleObject" Target="../embeddings/oleObject116.bin"/><Relationship Id="rId4"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vmlDrawing" Target="../drawings/vmlDrawing117.vml"/><Relationship Id="rId1" Type="http://schemas.openxmlformats.org/officeDocument/2006/relationships/themeOverride" Target="../theme/themeOverride48.xml"/><Relationship Id="rId6" Type="http://schemas.openxmlformats.org/officeDocument/2006/relationships/image" Target="../media/image7.emf"/><Relationship Id="rId5" Type="http://schemas.openxmlformats.org/officeDocument/2006/relationships/oleObject" Target="../embeddings/oleObject117.bin"/><Relationship Id="rId4"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18.vml"/><Relationship Id="rId6" Type="http://schemas.openxmlformats.org/officeDocument/2006/relationships/image" Target="../media/image7.emf"/><Relationship Id="rId5" Type="http://schemas.openxmlformats.org/officeDocument/2006/relationships/oleObject" Target="../embeddings/oleObject118.bin"/><Relationship Id="rId4"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7.emf"/><Relationship Id="rId2" Type="http://schemas.openxmlformats.org/officeDocument/2006/relationships/tags" Target="../tags/tag213.xml"/><Relationship Id="rId1" Type="http://schemas.openxmlformats.org/officeDocument/2006/relationships/vmlDrawing" Target="../drawings/vmlDrawing119.vml"/><Relationship Id="rId6" Type="http://schemas.openxmlformats.org/officeDocument/2006/relationships/oleObject" Target="../embeddings/oleObject119.bin"/><Relationship Id="rId5" Type="http://schemas.openxmlformats.org/officeDocument/2006/relationships/image" Target="../media/image17.jpeg"/><Relationship Id="rId4"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20.vml"/><Relationship Id="rId6" Type="http://schemas.openxmlformats.org/officeDocument/2006/relationships/image" Target="../media/image7.emf"/><Relationship Id="rId5" Type="http://schemas.openxmlformats.org/officeDocument/2006/relationships/oleObject" Target="../embeddings/oleObject120.bin"/><Relationship Id="rId4"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220.xml"/><Relationship Id="rId7" Type="http://schemas.openxmlformats.org/officeDocument/2006/relationships/image" Target="../media/image5.png"/><Relationship Id="rId2" Type="http://schemas.openxmlformats.org/officeDocument/2006/relationships/tags" Target="../tags/tag219.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vmlDrawing" Target="../drawings/vmlDrawing123.vml"/><Relationship Id="rId1" Type="http://schemas.openxmlformats.org/officeDocument/2006/relationships/themeOverride" Target="../theme/themeOverride49.xml"/><Relationship Id="rId6" Type="http://schemas.openxmlformats.org/officeDocument/2006/relationships/image" Target="../media/image7.emf"/><Relationship Id="rId5" Type="http://schemas.openxmlformats.org/officeDocument/2006/relationships/oleObject" Target="../embeddings/oleObject123.bin"/><Relationship Id="rId4"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5.jpeg"/><Relationship Id="rId2" Type="http://schemas.openxmlformats.org/officeDocument/2006/relationships/tags" Target="../tags/tag222.xml"/><Relationship Id="rId1" Type="http://schemas.openxmlformats.org/officeDocument/2006/relationships/vmlDrawing" Target="../drawings/vmlDrawing124.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124.bin"/></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vmlDrawing" Target="../drawings/vmlDrawing125.vml"/><Relationship Id="rId6" Type="http://schemas.openxmlformats.org/officeDocument/2006/relationships/image" Target="../media/image7.emf"/><Relationship Id="rId5" Type="http://schemas.openxmlformats.org/officeDocument/2006/relationships/oleObject" Target="../embeddings/oleObject125.bin"/><Relationship Id="rId4"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vmlDrawing" Target="../drawings/vmlDrawing126.vml"/><Relationship Id="rId1" Type="http://schemas.openxmlformats.org/officeDocument/2006/relationships/themeOverride" Target="../theme/themeOverride50.xml"/><Relationship Id="rId6" Type="http://schemas.openxmlformats.org/officeDocument/2006/relationships/image" Target="../media/image7.emf"/><Relationship Id="rId5" Type="http://schemas.openxmlformats.org/officeDocument/2006/relationships/oleObject" Target="../embeddings/oleObject126.bin"/><Relationship Id="rId4"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127.vml"/><Relationship Id="rId6" Type="http://schemas.openxmlformats.org/officeDocument/2006/relationships/image" Target="../media/image7.emf"/><Relationship Id="rId5" Type="http://schemas.openxmlformats.org/officeDocument/2006/relationships/oleObject" Target="../embeddings/oleObject127.bin"/><Relationship Id="rId4"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29.xml"/><Relationship Id="rId7" Type="http://schemas.openxmlformats.org/officeDocument/2006/relationships/image" Target="../media/image7.emf"/><Relationship Id="rId2" Type="http://schemas.openxmlformats.org/officeDocument/2006/relationships/tags" Target="../tags/tag228.xml"/><Relationship Id="rId1" Type="http://schemas.openxmlformats.org/officeDocument/2006/relationships/vmlDrawing" Target="../drawings/vmlDrawing128.vml"/><Relationship Id="rId6" Type="http://schemas.openxmlformats.org/officeDocument/2006/relationships/oleObject" Target="../embeddings/oleObject128.bin"/><Relationship Id="rId5" Type="http://schemas.openxmlformats.org/officeDocument/2006/relationships/image" Target="../media/image17.jpeg"/><Relationship Id="rId4"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vmlDrawing" Target="../drawings/vmlDrawing129.vml"/><Relationship Id="rId6" Type="http://schemas.openxmlformats.org/officeDocument/2006/relationships/image" Target="../media/image7.emf"/><Relationship Id="rId5" Type="http://schemas.openxmlformats.org/officeDocument/2006/relationships/oleObject" Target="../embeddings/oleObject129.bin"/><Relationship Id="rId4"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235.xml"/><Relationship Id="rId7" Type="http://schemas.openxmlformats.org/officeDocument/2006/relationships/image" Target="../media/image5.png"/><Relationship Id="rId2" Type="http://schemas.openxmlformats.org/officeDocument/2006/relationships/tags" Target="../tags/tag234.xml"/><Relationship Id="rId1" Type="http://schemas.openxmlformats.org/officeDocument/2006/relationships/vmlDrawing" Target="../drawings/vmlDrawing131.vml"/><Relationship Id="rId6" Type="http://schemas.openxmlformats.org/officeDocument/2006/relationships/image" Target="../media/image2.emf"/><Relationship Id="rId5" Type="http://schemas.openxmlformats.org/officeDocument/2006/relationships/oleObject" Target="../embeddings/oleObject131.bin"/><Relationship Id="rId4"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vmlDrawing" Target="../drawings/vmlDrawing14.vml"/><Relationship Id="rId1" Type="http://schemas.openxmlformats.org/officeDocument/2006/relationships/themeOverride" Target="../theme/themeOverride2.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236.xml"/><Relationship Id="rId2" Type="http://schemas.openxmlformats.org/officeDocument/2006/relationships/vmlDrawing" Target="../drawings/vmlDrawing132.vml"/><Relationship Id="rId1" Type="http://schemas.openxmlformats.org/officeDocument/2006/relationships/themeOverride" Target="../theme/themeOverride51.xml"/><Relationship Id="rId6" Type="http://schemas.openxmlformats.org/officeDocument/2006/relationships/image" Target="../media/image7.emf"/><Relationship Id="rId5" Type="http://schemas.openxmlformats.org/officeDocument/2006/relationships/oleObject" Target="../embeddings/oleObject132.bin"/><Relationship Id="rId4"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5.jpeg"/><Relationship Id="rId2" Type="http://schemas.openxmlformats.org/officeDocument/2006/relationships/tags" Target="../tags/tag237.xml"/><Relationship Id="rId1" Type="http://schemas.openxmlformats.org/officeDocument/2006/relationships/vmlDrawing" Target="../drawings/vmlDrawing133.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39.xml"/><Relationship Id="rId2" Type="http://schemas.openxmlformats.org/officeDocument/2006/relationships/tags" Target="../tags/tag238.xml"/><Relationship Id="rId1" Type="http://schemas.openxmlformats.org/officeDocument/2006/relationships/vmlDrawing" Target="../drawings/vmlDrawing134.vml"/><Relationship Id="rId6" Type="http://schemas.openxmlformats.org/officeDocument/2006/relationships/image" Target="../media/image7.emf"/><Relationship Id="rId5" Type="http://schemas.openxmlformats.org/officeDocument/2006/relationships/oleObject" Target="../embeddings/oleObject134.bin"/><Relationship Id="rId4"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240.xml"/><Relationship Id="rId2" Type="http://schemas.openxmlformats.org/officeDocument/2006/relationships/vmlDrawing" Target="../drawings/vmlDrawing135.vml"/><Relationship Id="rId1" Type="http://schemas.openxmlformats.org/officeDocument/2006/relationships/themeOverride" Target="../theme/themeOverride52.xml"/><Relationship Id="rId6" Type="http://schemas.openxmlformats.org/officeDocument/2006/relationships/image" Target="../media/image7.emf"/><Relationship Id="rId5" Type="http://schemas.openxmlformats.org/officeDocument/2006/relationships/oleObject" Target="../embeddings/oleObject135.bin"/><Relationship Id="rId4"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vmlDrawing" Target="../drawings/vmlDrawing136.vml"/><Relationship Id="rId6" Type="http://schemas.openxmlformats.org/officeDocument/2006/relationships/image" Target="../media/image7.emf"/><Relationship Id="rId5" Type="http://schemas.openxmlformats.org/officeDocument/2006/relationships/oleObject" Target="../embeddings/oleObject136.bin"/><Relationship Id="rId4"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7.emf"/><Relationship Id="rId2" Type="http://schemas.openxmlformats.org/officeDocument/2006/relationships/tags" Target="../tags/tag243.xml"/><Relationship Id="rId1" Type="http://schemas.openxmlformats.org/officeDocument/2006/relationships/vmlDrawing" Target="../drawings/vmlDrawing137.vml"/><Relationship Id="rId6" Type="http://schemas.openxmlformats.org/officeDocument/2006/relationships/oleObject" Target="../embeddings/oleObject137.bin"/><Relationship Id="rId5" Type="http://schemas.openxmlformats.org/officeDocument/2006/relationships/image" Target="../media/image17.jpeg"/><Relationship Id="rId4"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46.xml"/><Relationship Id="rId2" Type="http://schemas.openxmlformats.org/officeDocument/2006/relationships/tags" Target="../tags/tag245.xml"/><Relationship Id="rId1" Type="http://schemas.openxmlformats.org/officeDocument/2006/relationships/vmlDrawing" Target="../drawings/vmlDrawing138.vml"/><Relationship Id="rId6" Type="http://schemas.openxmlformats.org/officeDocument/2006/relationships/image" Target="../media/image7.emf"/><Relationship Id="rId5" Type="http://schemas.openxmlformats.org/officeDocument/2006/relationships/oleObject" Target="../embeddings/oleObject138.bin"/><Relationship Id="rId4"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250.xml"/><Relationship Id="rId7" Type="http://schemas.openxmlformats.org/officeDocument/2006/relationships/image" Target="../media/image5.png"/><Relationship Id="rId2" Type="http://schemas.openxmlformats.org/officeDocument/2006/relationships/tags" Target="../tags/tag249.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51.xml"/><Relationship Id="rId2" Type="http://schemas.openxmlformats.org/officeDocument/2006/relationships/vmlDrawing" Target="../drawings/vmlDrawing141.vml"/><Relationship Id="rId1" Type="http://schemas.openxmlformats.org/officeDocument/2006/relationships/themeOverride" Target="../theme/themeOverride53.xml"/><Relationship Id="rId6" Type="http://schemas.openxmlformats.org/officeDocument/2006/relationships/image" Target="../media/image7.emf"/><Relationship Id="rId5" Type="http://schemas.openxmlformats.org/officeDocument/2006/relationships/oleObject" Target="../embeddings/oleObject141.bin"/><Relationship Id="rId4"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7.xml"/><Relationship Id="rId7" Type="http://schemas.openxmlformats.org/officeDocument/2006/relationships/image" Target="../media/image7.emf"/><Relationship Id="rId2" Type="http://schemas.openxmlformats.org/officeDocument/2006/relationships/vmlDrawing" Target="../drawings/vmlDrawing15.vml"/><Relationship Id="rId1" Type="http://schemas.openxmlformats.org/officeDocument/2006/relationships/themeOverride" Target="../theme/themeOverride3.x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5.jpeg"/><Relationship Id="rId2" Type="http://schemas.openxmlformats.org/officeDocument/2006/relationships/tags" Target="../tags/tag252.xml"/><Relationship Id="rId1" Type="http://schemas.openxmlformats.org/officeDocument/2006/relationships/vmlDrawing" Target="../drawings/vmlDrawing142.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142.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43.vml"/><Relationship Id="rId6" Type="http://schemas.openxmlformats.org/officeDocument/2006/relationships/image" Target="../media/image7.emf"/><Relationship Id="rId5" Type="http://schemas.openxmlformats.org/officeDocument/2006/relationships/oleObject" Target="../embeddings/oleObject143.bin"/><Relationship Id="rId4"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255.xml"/><Relationship Id="rId2" Type="http://schemas.openxmlformats.org/officeDocument/2006/relationships/vmlDrawing" Target="../drawings/vmlDrawing144.vml"/><Relationship Id="rId1" Type="http://schemas.openxmlformats.org/officeDocument/2006/relationships/themeOverride" Target="../theme/themeOverride54.xml"/><Relationship Id="rId6" Type="http://schemas.openxmlformats.org/officeDocument/2006/relationships/image" Target="../media/image7.emf"/><Relationship Id="rId5" Type="http://schemas.openxmlformats.org/officeDocument/2006/relationships/oleObject" Target="../embeddings/oleObject144.bin"/><Relationship Id="rId4"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57.xml"/><Relationship Id="rId2" Type="http://schemas.openxmlformats.org/officeDocument/2006/relationships/tags" Target="../tags/tag256.xml"/><Relationship Id="rId1" Type="http://schemas.openxmlformats.org/officeDocument/2006/relationships/vmlDrawing" Target="../drawings/vmlDrawing145.vml"/><Relationship Id="rId6" Type="http://schemas.openxmlformats.org/officeDocument/2006/relationships/image" Target="../media/image7.emf"/><Relationship Id="rId5" Type="http://schemas.openxmlformats.org/officeDocument/2006/relationships/oleObject" Target="../embeddings/oleObject145.bin"/><Relationship Id="rId4"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259.xml"/><Relationship Id="rId7" Type="http://schemas.openxmlformats.org/officeDocument/2006/relationships/image" Target="../media/image7.emf"/><Relationship Id="rId2" Type="http://schemas.openxmlformats.org/officeDocument/2006/relationships/tags" Target="../tags/tag258.xml"/><Relationship Id="rId1" Type="http://schemas.openxmlformats.org/officeDocument/2006/relationships/vmlDrawing" Target="../drawings/vmlDrawing146.vml"/><Relationship Id="rId6" Type="http://schemas.openxmlformats.org/officeDocument/2006/relationships/oleObject" Target="../embeddings/oleObject146.bin"/><Relationship Id="rId5" Type="http://schemas.openxmlformats.org/officeDocument/2006/relationships/image" Target="../media/image17.jpeg"/><Relationship Id="rId4"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147.vml"/><Relationship Id="rId6" Type="http://schemas.openxmlformats.org/officeDocument/2006/relationships/image" Target="../media/image7.emf"/><Relationship Id="rId5" Type="http://schemas.openxmlformats.org/officeDocument/2006/relationships/oleObject" Target="../embeddings/oleObject147.bin"/><Relationship Id="rId4"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265.xml"/><Relationship Id="rId7" Type="http://schemas.openxmlformats.org/officeDocument/2006/relationships/image" Target="../media/image5.png"/><Relationship Id="rId2" Type="http://schemas.openxmlformats.org/officeDocument/2006/relationships/tags" Target="../tags/tag264.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266.xml"/><Relationship Id="rId2" Type="http://schemas.openxmlformats.org/officeDocument/2006/relationships/vmlDrawing" Target="../drawings/vmlDrawing150.vml"/><Relationship Id="rId1" Type="http://schemas.openxmlformats.org/officeDocument/2006/relationships/themeOverride" Target="../theme/themeOverride55.xml"/><Relationship Id="rId6" Type="http://schemas.openxmlformats.org/officeDocument/2006/relationships/image" Target="../media/image7.emf"/><Relationship Id="rId5" Type="http://schemas.openxmlformats.org/officeDocument/2006/relationships/oleObject" Target="../embeddings/oleObject150.bin"/><Relationship Id="rId4"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5.jpeg"/><Relationship Id="rId2" Type="http://schemas.openxmlformats.org/officeDocument/2006/relationships/tags" Target="../tags/tag267.xml"/><Relationship Id="rId1" Type="http://schemas.openxmlformats.org/officeDocument/2006/relationships/vmlDrawing" Target="../drawings/vmlDrawing151.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151.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9.xml"/><Relationship Id="rId7" Type="http://schemas.openxmlformats.org/officeDocument/2006/relationships/image" Target="../media/image7.emf"/><Relationship Id="rId2" Type="http://schemas.openxmlformats.org/officeDocument/2006/relationships/vmlDrawing" Target="../drawings/vmlDrawing16.vml"/><Relationship Id="rId1" Type="http://schemas.openxmlformats.org/officeDocument/2006/relationships/themeOverride" Target="../theme/themeOverride4.x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vmlDrawing" Target="../drawings/vmlDrawing152.vml"/><Relationship Id="rId6" Type="http://schemas.openxmlformats.org/officeDocument/2006/relationships/image" Target="../media/image7.emf"/><Relationship Id="rId5" Type="http://schemas.openxmlformats.org/officeDocument/2006/relationships/oleObject" Target="../embeddings/oleObject152.bin"/><Relationship Id="rId4"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270.xml"/><Relationship Id="rId2" Type="http://schemas.openxmlformats.org/officeDocument/2006/relationships/vmlDrawing" Target="../drawings/vmlDrawing153.vml"/><Relationship Id="rId1" Type="http://schemas.openxmlformats.org/officeDocument/2006/relationships/themeOverride" Target="../theme/themeOverride56.xml"/><Relationship Id="rId6" Type="http://schemas.openxmlformats.org/officeDocument/2006/relationships/image" Target="../media/image7.emf"/><Relationship Id="rId5" Type="http://schemas.openxmlformats.org/officeDocument/2006/relationships/oleObject" Target="../embeddings/oleObject153.bin"/><Relationship Id="rId4"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image" Target="../media/image7.emf"/><Relationship Id="rId2" Type="http://schemas.openxmlformats.org/officeDocument/2006/relationships/tags" Target="../tags/tag271.xml"/><Relationship Id="rId1" Type="http://schemas.openxmlformats.org/officeDocument/2006/relationships/vmlDrawing" Target="../drawings/vmlDrawing154.vml"/><Relationship Id="rId6" Type="http://schemas.openxmlformats.org/officeDocument/2006/relationships/oleObject" Target="../embeddings/oleObject154.bin"/><Relationship Id="rId5" Type="http://schemas.openxmlformats.org/officeDocument/2006/relationships/image" Target="../media/image17.jpeg"/><Relationship Id="rId4"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vmlDrawing" Target="../drawings/vmlDrawing155.vml"/><Relationship Id="rId6" Type="http://schemas.openxmlformats.org/officeDocument/2006/relationships/image" Target="../media/image7.emf"/><Relationship Id="rId5" Type="http://schemas.openxmlformats.org/officeDocument/2006/relationships/oleObject" Target="../embeddings/oleObject155.bin"/><Relationship Id="rId4"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278.xml"/><Relationship Id="rId7" Type="http://schemas.openxmlformats.org/officeDocument/2006/relationships/image" Target="../media/image5.png"/><Relationship Id="rId2" Type="http://schemas.openxmlformats.org/officeDocument/2006/relationships/tags" Target="../tags/tag27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vmlDrawing" Target="../drawings/vmlDrawing158.vml"/><Relationship Id="rId1" Type="http://schemas.openxmlformats.org/officeDocument/2006/relationships/themeOverride" Target="../theme/themeOverride57.xml"/><Relationship Id="rId6" Type="http://schemas.openxmlformats.org/officeDocument/2006/relationships/image" Target="../media/image7.emf"/><Relationship Id="rId5" Type="http://schemas.openxmlformats.org/officeDocument/2006/relationships/oleObject" Target="../embeddings/oleObject150.bin"/><Relationship Id="rId4"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5.jpeg"/><Relationship Id="rId2" Type="http://schemas.openxmlformats.org/officeDocument/2006/relationships/tags" Target="../tags/tag280.xml"/><Relationship Id="rId1" Type="http://schemas.openxmlformats.org/officeDocument/2006/relationships/vmlDrawing" Target="../drawings/vmlDrawing159.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151.bin"/></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282.xml"/><Relationship Id="rId2" Type="http://schemas.openxmlformats.org/officeDocument/2006/relationships/tags" Target="../tags/tag281.xml"/><Relationship Id="rId1" Type="http://schemas.openxmlformats.org/officeDocument/2006/relationships/vmlDrawing" Target="../drawings/vmlDrawing160.vml"/><Relationship Id="rId6" Type="http://schemas.openxmlformats.org/officeDocument/2006/relationships/image" Target="../media/image7.emf"/><Relationship Id="rId5" Type="http://schemas.openxmlformats.org/officeDocument/2006/relationships/oleObject" Target="../embeddings/oleObject152.bin"/><Relationship Id="rId4"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283.xml"/><Relationship Id="rId2" Type="http://schemas.openxmlformats.org/officeDocument/2006/relationships/vmlDrawing" Target="../drawings/vmlDrawing161.vml"/><Relationship Id="rId1" Type="http://schemas.openxmlformats.org/officeDocument/2006/relationships/themeOverride" Target="../theme/themeOverride58.xml"/><Relationship Id="rId6" Type="http://schemas.openxmlformats.org/officeDocument/2006/relationships/image" Target="../media/image7.emf"/><Relationship Id="rId5" Type="http://schemas.openxmlformats.org/officeDocument/2006/relationships/oleObject" Target="../embeddings/oleObject153.bin"/><Relationship Id="rId4"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285.xml"/><Relationship Id="rId7" Type="http://schemas.openxmlformats.org/officeDocument/2006/relationships/image" Target="../media/image7.emf"/><Relationship Id="rId2" Type="http://schemas.openxmlformats.org/officeDocument/2006/relationships/tags" Target="../tags/tag284.xml"/><Relationship Id="rId1" Type="http://schemas.openxmlformats.org/officeDocument/2006/relationships/vmlDrawing" Target="../drawings/vmlDrawing162.vml"/><Relationship Id="rId6" Type="http://schemas.openxmlformats.org/officeDocument/2006/relationships/oleObject" Target="../embeddings/oleObject154.bin"/><Relationship Id="rId5" Type="http://schemas.openxmlformats.org/officeDocument/2006/relationships/image" Target="../media/image17.jpeg"/><Relationship Id="rId4"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1.xml"/><Relationship Id="rId7" Type="http://schemas.openxmlformats.org/officeDocument/2006/relationships/image" Target="../media/image7.emf"/><Relationship Id="rId2" Type="http://schemas.openxmlformats.org/officeDocument/2006/relationships/vmlDrawing" Target="../drawings/vmlDrawing17.vml"/><Relationship Id="rId1" Type="http://schemas.openxmlformats.org/officeDocument/2006/relationships/themeOverride" Target="../theme/themeOverride5.x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vmlDrawing" Target="../drawings/vmlDrawing163.vml"/><Relationship Id="rId6" Type="http://schemas.openxmlformats.org/officeDocument/2006/relationships/image" Target="../media/image7.emf"/><Relationship Id="rId5" Type="http://schemas.openxmlformats.org/officeDocument/2006/relationships/oleObject" Target="../embeddings/oleObject155.bin"/><Relationship Id="rId4"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291.xml"/><Relationship Id="rId7" Type="http://schemas.openxmlformats.org/officeDocument/2006/relationships/image" Target="../media/image5.png"/><Relationship Id="rId2" Type="http://schemas.openxmlformats.org/officeDocument/2006/relationships/tags" Target="../tags/tag290.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292.xml"/><Relationship Id="rId2" Type="http://schemas.openxmlformats.org/officeDocument/2006/relationships/vmlDrawing" Target="../drawings/vmlDrawing166.vml"/><Relationship Id="rId1" Type="http://schemas.openxmlformats.org/officeDocument/2006/relationships/themeOverride" Target="../theme/themeOverride59.xml"/><Relationship Id="rId6" Type="http://schemas.openxmlformats.org/officeDocument/2006/relationships/image" Target="../media/image7.emf"/><Relationship Id="rId5" Type="http://schemas.openxmlformats.org/officeDocument/2006/relationships/oleObject" Target="../embeddings/oleObject158.bin"/><Relationship Id="rId4"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5.jpeg"/><Relationship Id="rId2" Type="http://schemas.openxmlformats.org/officeDocument/2006/relationships/tags" Target="../tags/tag293.xml"/><Relationship Id="rId1" Type="http://schemas.openxmlformats.org/officeDocument/2006/relationships/vmlDrawing" Target="../drawings/vmlDrawing167.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159.bin"/></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vmlDrawing" Target="../drawings/vmlDrawing168.vml"/><Relationship Id="rId6" Type="http://schemas.openxmlformats.org/officeDocument/2006/relationships/image" Target="../media/image7.emf"/><Relationship Id="rId5" Type="http://schemas.openxmlformats.org/officeDocument/2006/relationships/oleObject" Target="../embeddings/oleObject160.bin"/><Relationship Id="rId4"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vmlDrawing" Target="../drawings/vmlDrawing169.vml"/><Relationship Id="rId1" Type="http://schemas.openxmlformats.org/officeDocument/2006/relationships/themeOverride" Target="../theme/themeOverride60.xml"/><Relationship Id="rId6" Type="http://schemas.openxmlformats.org/officeDocument/2006/relationships/image" Target="../media/image7.emf"/><Relationship Id="rId5" Type="http://schemas.openxmlformats.org/officeDocument/2006/relationships/oleObject" Target="../embeddings/oleObject161.bin"/><Relationship Id="rId4"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298.xml"/><Relationship Id="rId7" Type="http://schemas.openxmlformats.org/officeDocument/2006/relationships/image" Target="../media/image7.emf"/><Relationship Id="rId2" Type="http://schemas.openxmlformats.org/officeDocument/2006/relationships/tags" Target="../tags/tag297.xml"/><Relationship Id="rId1" Type="http://schemas.openxmlformats.org/officeDocument/2006/relationships/vmlDrawing" Target="../drawings/vmlDrawing170.vml"/><Relationship Id="rId6" Type="http://schemas.openxmlformats.org/officeDocument/2006/relationships/oleObject" Target="../embeddings/oleObject162.bin"/><Relationship Id="rId5" Type="http://schemas.openxmlformats.org/officeDocument/2006/relationships/image" Target="../media/image17.jpeg"/><Relationship Id="rId4"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300.xml"/><Relationship Id="rId2" Type="http://schemas.openxmlformats.org/officeDocument/2006/relationships/tags" Target="../tags/tag299.xml"/><Relationship Id="rId1" Type="http://schemas.openxmlformats.org/officeDocument/2006/relationships/vmlDrawing" Target="../drawings/vmlDrawing171.vml"/><Relationship Id="rId6" Type="http://schemas.openxmlformats.org/officeDocument/2006/relationships/image" Target="../media/image7.emf"/><Relationship Id="rId5" Type="http://schemas.openxmlformats.org/officeDocument/2006/relationships/oleObject" Target="../embeddings/oleObject163.bin"/><Relationship Id="rId4"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04.xml"/><Relationship Id="rId7" Type="http://schemas.openxmlformats.org/officeDocument/2006/relationships/image" Target="../media/image3.jpeg"/><Relationship Id="rId2" Type="http://schemas.openxmlformats.org/officeDocument/2006/relationships/tags" Target="../tags/tag303.xml"/><Relationship Id="rId1" Type="http://schemas.openxmlformats.org/officeDocument/2006/relationships/vmlDrawing" Target="../drawings/vmlDrawing173.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06.xml"/><Relationship Id="rId7" Type="http://schemas.openxmlformats.org/officeDocument/2006/relationships/image" Target="../media/image5.png"/><Relationship Id="rId2" Type="http://schemas.openxmlformats.org/officeDocument/2006/relationships/tags" Target="../tags/tag305.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66.bin"/><Relationship Id="rId4"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3.xml"/><Relationship Id="rId7" Type="http://schemas.openxmlformats.org/officeDocument/2006/relationships/image" Target="../media/image7.emf"/><Relationship Id="rId2" Type="http://schemas.openxmlformats.org/officeDocument/2006/relationships/vmlDrawing" Target="../drawings/vmlDrawing18.vml"/><Relationship Id="rId1" Type="http://schemas.openxmlformats.org/officeDocument/2006/relationships/themeOverride" Target="../theme/themeOverride6.x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308.xml"/><Relationship Id="rId2" Type="http://schemas.openxmlformats.org/officeDocument/2006/relationships/tags" Target="../tags/tag307.xml"/><Relationship Id="rId1" Type="http://schemas.openxmlformats.org/officeDocument/2006/relationships/vmlDrawing" Target="../drawings/vmlDrawing175.vml"/><Relationship Id="rId6" Type="http://schemas.openxmlformats.org/officeDocument/2006/relationships/image" Target="../media/image7.emf"/><Relationship Id="rId5" Type="http://schemas.openxmlformats.org/officeDocument/2006/relationships/oleObject" Target="../embeddings/oleObject167.bin"/><Relationship Id="rId4"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vmlDrawing" Target="../drawings/vmlDrawing176.vml"/><Relationship Id="rId6" Type="http://schemas.openxmlformats.org/officeDocument/2006/relationships/image" Target="../media/image7.emf"/><Relationship Id="rId5" Type="http://schemas.openxmlformats.org/officeDocument/2006/relationships/oleObject" Target="../embeddings/oleObject168.bin"/><Relationship Id="rId4"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vmlDrawing" Target="../drawings/vmlDrawing177.vml"/><Relationship Id="rId6" Type="http://schemas.openxmlformats.org/officeDocument/2006/relationships/image" Target="../media/image7.emf"/><Relationship Id="rId5" Type="http://schemas.openxmlformats.org/officeDocument/2006/relationships/oleObject" Target="../embeddings/oleObject169.bin"/><Relationship Id="rId4"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vmlDrawing" Target="../drawings/vmlDrawing178.vml"/><Relationship Id="rId6" Type="http://schemas.openxmlformats.org/officeDocument/2006/relationships/image" Target="../media/image7.emf"/><Relationship Id="rId5" Type="http://schemas.openxmlformats.org/officeDocument/2006/relationships/oleObject" Target="../embeddings/oleObject170.bin"/><Relationship Id="rId4"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316.xml"/><Relationship Id="rId2" Type="http://schemas.openxmlformats.org/officeDocument/2006/relationships/tags" Target="../tags/tag315.xml"/><Relationship Id="rId1" Type="http://schemas.openxmlformats.org/officeDocument/2006/relationships/vmlDrawing" Target="../drawings/vmlDrawing179.vml"/><Relationship Id="rId6" Type="http://schemas.openxmlformats.org/officeDocument/2006/relationships/image" Target="../media/image7.emf"/><Relationship Id="rId5" Type="http://schemas.openxmlformats.org/officeDocument/2006/relationships/oleObject" Target="../embeddings/oleObject171.bin"/><Relationship Id="rId4"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318.xml"/><Relationship Id="rId2" Type="http://schemas.openxmlformats.org/officeDocument/2006/relationships/tags" Target="../tags/tag317.xml"/><Relationship Id="rId1" Type="http://schemas.openxmlformats.org/officeDocument/2006/relationships/vmlDrawing" Target="../drawings/vmlDrawing180.vml"/><Relationship Id="rId6" Type="http://schemas.openxmlformats.org/officeDocument/2006/relationships/image" Target="../media/image7.emf"/><Relationship Id="rId5" Type="http://schemas.openxmlformats.org/officeDocument/2006/relationships/oleObject" Target="../embeddings/oleObject172.bin"/><Relationship Id="rId4"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19.xml"/><Relationship Id="rId1" Type="http://schemas.openxmlformats.org/officeDocument/2006/relationships/vmlDrawing" Target="../drawings/vmlDrawing181.vml"/><Relationship Id="rId5" Type="http://schemas.openxmlformats.org/officeDocument/2006/relationships/image" Target="../media/image7.emf"/><Relationship Id="rId4" Type="http://schemas.openxmlformats.org/officeDocument/2006/relationships/oleObject" Target="../embeddings/oleObject173.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0.xml"/><Relationship Id="rId1" Type="http://schemas.openxmlformats.org/officeDocument/2006/relationships/vmlDrawing" Target="../drawings/vmlDrawing182.vml"/><Relationship Id="rId6" Type="http://schemas.openxmlformats.org/officeDocument/2006/relationships/image" Target="../media/image7.emf"/><Relationship Id="rId5" Type="http://schemas.openxmlformats.org/officeDocument/2006/relationships/oleObject" Target="../embeddings/oleObject174.bin"/><Relationship Id="rId4" Type="http://schemas.openxmlformats.org/officeDocument/2006/relationships/image" Target="../media/image18.jpeg"/></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321.xml"/><Relationship Id="rId2" Type="http://schemas.openxmlformats.org/officeDocument/2006/relationships/vmlDrawing" Target="../drawings/vmlDrawing183.vml"/><Relationship Id="rId1" Type="http://schemas.openxmlformats.org/officeDocument/2006/relationships/themeOverride" Target="../theme/themeOverride61.xml"/><Relationship Id="rId6" Type="http://schemas.openxmlformats.org/officeDocument/2006/relationships/image" Target="../media/image7.emf"/><Relationship Id="rId5" Type="http://schemas.openxmlformats.org/officeDocument/2006/relationships/oleObject" Target="../embeddings/oleObject175.bin"/><Relationship Id="rId4"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323.xml"/><Relationship Id="rId2" Type="http://schemas.openxmlformats.org/officeDocument/2006/relationships/tags" Target="../tags/tag322.xml"/><Relationship Id="rId1" Type="http://schemas.openxmlformats.org/officeDocument/2006/relationships/vmlDrawing" Target="../drawings/vmlDrawing184.vml"/><Relationship Id="rId6" Type="http://schemas.openxmlformats.org/officeDocument/2006/relationships/image" Target="../media/image7.emf"/><Relationship Id="rId5" Type="http://schemas.openxmlformats.org/officeDocument/2006/relationships/oleObject" Target="../embeddings/oleObject176.bin"/><Relationship Id="rId4"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5.xml"/><Relationship Id="rId7" Type="http://schemas.openxmlformats.org/officeDocument/2006/relationships/image" Target="../media/image7.emf"/><Relationship Id="rId2" Type="http://schemas.openxmlformats.org/officeDocument/2006/relationships/vmlDrawing" Target="../drawings/vmlDrawing19.vml"/><Relationship Id="rId1" Type="http://schemas.openxmlformats.org/officeDocument/2006/relationships/themeOverride" Target="../theme/themeOverride7.x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18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4.xml"/><Relationship Id="rId7" Type="http://schemas.openxmlformats.org/officeDocument/2006/relationships/image" Target="../media/image7.emf"/><Relationship Id="rId2" Type="http://schemas.openxmlformats.org/officeDocument/2006/relationships/vmlDrawing" Target="../drawings/vmlDrawing185.vml"/><Relationship Id="rId1" Type="http://schemas.openxmlformats.org/officeDocument/2006/relationships/themeOverride" Target="../theme/themeOverride62.xml"/><Relationship Id="rId6" Type="http://schemas.openxmlformats.org/officeDocument/2006/relationships/oleObject" Target="../embeddings/oleObject177.bin"/><Relationship Id="rId5" Type="http://schemas.openxmlformats.org/officeDocument/2006/relationships/slideMaster" Target="../slideMasters/slideMaster13.xml"/><Relationship Id="rId4" Type="http://schemas.openxmlformats.org/officeDocument/2006/relationships/tags" Target="../tags/tag325.xml"/></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26.xml"/><Relationship Id="rId7" Type="http://schemas.openxmlformats.org/officeDocument/2006/relationships/image" Target="../media/image7.emf"/><Relationship Id="rId2" Type="http://schemas.openxmlformats.org/officeDocument/2006/relationships/vmlDrawing" Target="../drawings/vmlDrawing186.vml"/><Relationship Id="rId1" Type="http://schemas.openxmlformats.org/officeDocument/2006/relationships/themeOverride" Target="../theme/themeOverride63.xml"/><Relationship Id="rId6" Type="http://schemas.openxmlformats.org/officeDocument/2006/relationships/oleObject" Target="../embeddings/oleObject178.bin"/><Relationship Id="rId5" Type="http://schemas.openxmlformats.org/officeDocument/2006/relationships/slideMaster" Target="../slideMasters/slideMaster13.xml"/><Relationship Id="rId4" Type="http://schemas.openxmlformats.org/officeDocument/2006/relationships/tags" Target="../tags/tag327.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8.xml"/><Relationship Id="rId7" Type="http://schemas.openxmlformats.org/officeDocument/2006/relationships/image" Target="../media/image7.emf"/><Relationship Id="rId2" Type="http://schemas.openxmlformats.org/officeDocument/2006/relationships/vmlDrawing" Target="../drawings/vmlDrawing187.vml"/><Relationship Id="rId1" Type="http://schemas.openxmlformats.org/officeDocument/2006/relationships/themeOverride" Target="../theme/themeOverride64.xml"/><Relationship Id="rId6" Type="http://schemas.openxmlformats.org/officeDocument/2006/relationships/oleObject" Target="../embeddings/oleObject179.bin"/><Relationship Id="rId5" Type="http://schemas.openxmlformats.org/officeDocument/2006/relationships/slideMaster" Target="../slideMasters/slideMaster13.xml"/><Relationship Id="rId4" Type="http://schemas.openxmlformats.org/officeDocument/2006/relationships/tags" Target="../tags/tag329.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30.xml"/><Relationship Id="rId7" Type="http://schemas.openxmlformats.org/officeDocument/2006/relationships/image" Target="../media/image7.emf"/><Relationship Id="rId2" Type="http://schemas.openxmlformats.org/officeDocument/2006/relationships/vmlDrawing" Target="../drawings/vmlDrawing188.vml"/><Relationship Id="rId1" Type="http://schemas.openxmlformats.org/officeDocument/2006/relationships/themeOverride" Target="../theme/themeOverride65.xml"/><Relationship Id="rId6" Type="http://schemas.openxmlformats.org/officeDocument/2006/relationships/oleObject" Target="../embeddings/oleObject180.bin"/><Relationship Id="rId5" Type="http://schemas.openxmlformats.org/officeDocument/2006/relationships/slideMaster" Target="../slideMasters/slideMaster13.xml"/><Relationship Id="rId4" Type="http://schemas.openxmlformats.org/officeDocument/2006/relationships/tags" Target="../tags/tag331.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32.xml"/><Relationship Id="rId7" Type="http://schemas.openxmlformats.org/officeDocument/2006/relationships/image" Target="../media/image7.emf"/><Relationship Id="rId2" Type="http://schemas.openxmlformats.org/officeDocument/2006/relationships/vmlDrawing" Target="../drawings/vmlDrawing189.vml"/><Relationship Id="rId1" Type="http://schemas.openxmlformats.org/officeDocument/2006/relationships/themeOverride" Target="../theme/themeOverride66.xml"/><Relationship Id="rId6" Type="http://schemas.openxmlformats.org/officeDocument/2006/relationships/oleObject" Target="../embeddings/oleObject181.bin"/><Relationship Id="rId5" Type="http://schemas.openxmlformats.org/officeDocument/2006/relationships/slideMaster" Target="../slideMasters/slideMaster13.xml"/><Relationship Id="rId4" Type="http://schemas.openxmlformats.org/officeDocument/2006/relationships/tags" Target="../tags/tag333.xml"/></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34.xml"/><Relationship Id="rId7" Type="http://schemas.openxmlformats.org/officeDocument/2006/relationships/image" Target="../media/image7.emf"/><Relationship Id="rId2" Type="http://schemas.openxmlformats.org/officeDocument/2006/relationships/vmlDrawing" Target="../drawings/vmlDrawing190.vml"/><Relationship Id="rId1" Type="http://schemas.openxmlformats.org/officeDocument/2006/relationships/themeOverride" Target="../theme/themeOverride67.xml"/><Relationship Id="rId6" Type="http://schemas.openxmlformats.org/officeDocument/2006/relationships/oleObject" Target="../embeddings/oleObject182.bin"/><Relationship Id="rId5" Type="http://schemas.openxmlformats.org/officeDocument/2006/relationships/slideMaster" Target="../slideMasters/slideMaster13.xml"/><Relationship Id="rId4" Type="http://schemas.openxmlformats.org/officeDocument/2006/relationships/tags" Target="../tags/tag335.xml"/></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36.xml"/><Relationship Id="rId7" Type="http://schemas.openxmlformats.org/officeDocument/2006/relationships/image" Target="../media/image7.emf"/><Relationship Id="rId2" Type="http://schemas.openxmlformats.org/officeDocument/2006/relationships/vmlDrawing" Target="../drawings/vmlDrawing191.vml"/><Relationship Id="rId1" Type="http://schemas.openxmlformats.org/officeDocument/2006/relationships/themeOverride" Target="../theme/themeOverride68.xml"/><Relationship Id="rId6" Type="http://schemas.openxmlformats.org/officeDocument/2006/relationships/oleObject" Target="../embeddings/oleObject183.bin"/><Relationship Id="rId5" Type="http://schemas.openxmlformats.org/officeDocument/2006/relationships/slideMaster" Target="../slideMasters/slideMaster13.xml"/><Relationship Id="rId4" Type="http://schemas.openxmlformats.org/officeDocument/2006/relationships/tags" Target="../tags/tag337.xml"/></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38.xml"/><Relationship Id="rId7" Type="http://schemas.openxmlformats.org/officeDocument/2006/relationships/image" Target="../media/image7.emf"/><Relationship Id="rId2" Type="http://schemas.openxmlformats.org/officeDocument/2006/relationships/vmlDrawing" Target="../drawings/vmlDrawing192.vml"/><Relationship Id="rId1" Type="http://schemas.openxmlformats.org/officeDocument/2006/relationships/themeOverride" Target="../theme/themeOverride69.xml"/><Relationship Id="rId6" Type="http://schemas.openxmlformats.org/officeDocument/2006/relationships/oleObject" Target="../embeddings/oleObject184.bin"/><Relationship Id="rId5" Type="http://schemas.openxmlformats.org/officeDocument/2006/relationships/slideMaster" Target="../slideMasters/slideMaster13.xml"/><Relationship Id="rId4" Type="http://schemas.openxmlformats.org/officeDocument/2006/relationships/tags" Target="../tags/tag339.xml"/></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0.xml"/><Relationship Id="rId7" Type="http://schemas.openxmlformats.org/officeDocument/2006/relationships/image" Target="../media/image7.emf"/><Relationship Id="rId2" Type="http://schemas.openxmlformats.org/officeDocument/2006/relationships/vmlDrawing" Target="../drawings/vmlDrawing193.vml"/><Relationship Id="rId1" Type="http://schemas.openxmlformats.org/officeDocument/2006/relationships/themeOverride" Target="../theme/themeOverride70.xml"/><Relationship Id="rId6" Type="http://schemas.openxmlformats.org/officeDocument/2006/relationships/oleObject" Target="../embeddings/oleObject185.bin"/><Relationship Id="rId5" Type="http://schemas.openxmlformats.org/officeDocument/2006/relationships/slideMaster" Target="../slideMasters/slideMaster13.xml"/><Relationship Id="rId4" Type="http://schemas.openxmlformats.org/officeDocument/2006/relationships/tags" Target="../tags/tag341.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343.xml"/><Relationship Id="rId7" Type="http://schemas.openxmlformats.org/officeDocument/2006/relationships/image" Target="../media/image10.png"/><Relationship Id="rId2" Type="http://schemas.openxmlformats.org/officeDocument/2006/relationships/tags" Target="../tags/tag342.xml"/><Relationship Id="rId1" Type="http://schemas.openxmlformats.org/officeDocument/2006/relationships/vmlDrawing" Target="../drawings/vmlDrawing194.vml"/><Relationship Id="rId6" Type="http://schemas.openxmlformats.org/officeDocument/2006/relationships/image" Target="../media/image7.emf"/><Relationship Id="rId5" Type="http://schemas.openxmlformats.org/officeDocument/2006/relationships/oleObject" Target="../embeddings/oleObject186.bin"/><Relationship Id="rId4"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7.xml"/><Relationship Id="rId7" Type="http://schemas.openxmlformats.org/officeDocument/2006/relationships/image" Target="../media/image7.emf"/><Relationship Id="rId2" Type="http://schemas.openxmlformats.org/officeDocument/2006/relationships/vmlDrawing" Target="../drawings/vmlDrawing20.vml"/><Relationship Id="rId1" Type="http://schemas.openxmlformats.org/officeDocument/2006/relationships/themeOverride" Target="../theme/themeOverride8.x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38.xml"/></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4.xml"/><Relationship Id="rId7" Type="http://schemas.openxmlformats.org/officeDocument/2006/relationships/image" Target="../media/image7.emf"/><Relationship Id="rId2" Type="http://schemas.openxmlformats.org/officeDocument/2006/relationships/vmlDrawing" Target="../drawings/vmlDrawing195.vml"/><Relationship Id="rId1" Type="http://schemas.openxmlformats.org/officeDocument/2006/relationships/themeOverride" Target="../theme/themeOverride71.xml"/><Relationship Id="rId6" Type="http://schemas.openxmlformats.org/officeDocument/2006/relationships/oleObject" Target="../embeddings/oleObject187.bin"/><Relationship Id="rId5" Type="http://schemas.openxmlformats.org/officeDocument/2006/relationships/slideMaster" Target="../slideMasters/slideMaster13.xml"/><Relationship Id="rId4" Type="http://schemas.openxmlformats.org/officeDocument/2006/relationships/tags" Target="../tags/tag345.xml"/></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6.xml"/><Relationship Id="rId7" Type="http://schemas.openxmlformats.org/officeDocument/2006/relationships/image" Target="../media/image7.emf"/><Relationship Id="rId2" Type="http://schemas.openxmlformats.org/officeDocument/2006/relationships/vmlDrawing" Target="../drawings/vmlDrawing196.vml"/><Relationship Id="rId1" Type="http://schemas.openxmlformats.org/officeDocument/2006/relationships/themeOverride" Target="../theme/themeOverride72.xml"/><Relationship Id="rId6" Type="http://schemas.openxmlformats.org/officeDocument/2006/relationships/oleObject" Target="../embeddings/oleObject188.bin"/><Relationship Id="rId5" Type="http://schemas.openxmlformats.org/officeDocument/2006/relationships/slideMaster" Target="../slideMasters/slideMaster13.xml"/><Relationship Id="rId4" Type="http://schemas.openxmlformats.org/officeDocument/2006/relationships/tags" Target="../tags/tag347.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7.emf"/><Relationship Id="rId2" Type="http://schemas.openxmlformats.org/officeDocument/2006/relationships/vmlDrawing" Target="../drawings/vmlDrawing197.vml"/><Relationship Id="rId1" Type="http://schemas.openxmlformats.org/officeDocument/2006/relationships/themeOverride" Target="../theme/themeOverride73.xml"/><Relationship Id="rId6" Type="http://schemas.openxmlformats.org/officeDocument/2006/relationships/oleObject" Target="../embeddings/oleObject189.bin"/><Relationship Id="rId5" Type="http://schemas.openxmlformats.org/officeDocument/2006/relationships/slideMaster" Target="../slideMasters/slideMaster13.xml"/><Relationship Id="rId4" Type="http://schemas.openxmlformats.org/officeDocument/2006/relationships/tags" Target="../tags/tag349.xml"/></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351.xml"/><Relationship Id="rId2" Type="http://schemas.openxmlformats.org/officeDocument/2006/relationships/tags" Target="../tags/tag350.xml"/><Relationship Id="rId1" Type="http://schemas.openxmlformats.org/officeDocument/2006/relationships/vmlDrawing" Target="../drawings/vmlDrawing198.vml"/><Relationship Id="rId6" Type="http://schemas.openxmlformats.org/officeDocument/2006/relationships/image" Target="../media/image7.emf"/><Relationship Id="rId5" Type="http://schemas.openxmlformats.org/officeDocument/2006/relationships/oleObject" Target="../embeddings/oleObject190.bin"/><Relationship Id="rId4"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352.xml"/><Relationship Id="rId7" Type="http://schemas.openxmlformats.org/officeDocument/2006/relationships/image" Target="../media/image9.png"/><Relationship Id="rId2" Type="http://schemas.openxmlformats.org/officeDocument/2006/relationships/vmlDrawing" Target="../drawings/vmlDrawing199.vml"/><Relationship Id="rId1" Type="http://schemas.openxmlformats.org/officeDocument/2006/relationships/themeOverride" Target="../theme/themeOverride74.xml"/><Relationship Id="rId6" Type="http://schemas.openxmlformats.org/officeDocument/2006/relationships/image" Target="../media/image11.emf"/><Relationship Id="rId5" Type="http://schemas.openxmlformats.org/officeDocument/2006/relationships/oleObject" Target="../embeddings/oleObject191.bin"/><Relationship Id="rId4"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6.jpeg"/><Relationship Id="rId2" Type="http://schemas.openxmlformats.org/officeDocument/2006/relationships/tags" Target="../tags/tag353.xml"/><Relationship Id="rId1" Type="http://schemas.openxmlformats.org/officeDocument/2006/relationships/vmlDrawing" Target="../drawings/vmlDrawing200.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92.bin"/></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355.xml"/><Relationship Id="rId7" Type="http://schemas.openxmlformats.org/officeDocument/2006/relationships/image" Target="../media/image7.emf"/><Relationship Id="rId2" Type="http://schemas.openxmlformats.org/officeDocument/2006/relationships/tags" Target="../tags/tag354.xml"/><Relationship Id="rId1" Type="http://schemas.openxmlformats.org/officeDocument/2006/relationships/vmlDrawing" Target="../drawings/vmlDrawing201.vml"/><Relationship Id="rId6" Type="http://schemas.openxmlformats.org/officeDocument/2006/relationships/oleObject" Target="../embeddings/oleObject193.bin"/><Relationship Id="rId5" Type="http://schemas.openxmlformats.org/officeDocument/2006/relationships/image" Target="../media/image12.jpeg"/><Relationship Id="rId4"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59.xml"/><Relationship Id="rId7" Type="http://schemas.openxmlformats.org/officeDocument/2006/relationships/image" Target="../media/image3.jpeg"/><Relationship Id="rId2" Type="http://schemas.openxmlformats.org/officeDocument/2006/relationships/tags" Target="../tags/tag358.xml"/><Relationship Id="rId1" Type="http://schemas.openxmlformats.org/officeDocument/2006/relationships/vmlDrawing" Target="../drawings/vmlDrawing203.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61.xml"/><Relationship Id="rId7" Type="http://schemas.openxmlformats.org/officeDocument/2006/relationships/image" Target="../media/image5.png"/><Relationship Id="rId2" Type="http://schemas.openxmlformats.org/officeDocument/2006/relationships/tags" Target="../tags/tag360.xml"/><Relationship Id="rId1" Type="http://schemas.openxmlformats.org/officeDocument/2006/relationships/vmlDrawing" Target="../drawings/vmlDrawing204.vml"/><Relationship Id="rId6" Type="http://schemas.openxmlformats.org/officeDocument/2006/relationships/image" Target="../media/image2.emf"/><Relationship Id="rId5" Type="http://schemas.openxmlformats.org/officeDocument/2006/relationships/oleObject" Target="../embeddings/oleObject166.bin"/><Relationship Id="rId4"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9.xml"/><Relationship Id="rId7" Type="http://schemas.openxmlformats.org/officeDocument/2006/relationships/image" Target="../media/image7.emf"/><Relationship Id="rId2" Type="http://schemas.openxmlformats.org/officeDocument/2006/relationships/vmlDrawing" Target="../drawings/vmlDrawing21.vml"/><Relationship Id="rId1" Type="http://schemas.openxmlformats.org/officeDocument/2006/relationships/themeOverride" Target="../theme/themeOverride9.x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363.xml"/><Relationship Id="rId2" Type="http://schemas.openxmlformats.org/officeDocument/2006/relationships/tags" Target="../tags/tag362.xml"/><Relationship Id="rId1" Type="http://schemas.openxmlformats.org/officeDocument/2006/relationships/vmlDrawing" Target="../drawings/vmlDrawing205.vml"/><Relationship Id="rId6" Type="http://schemas.openxmlformats.org/officeDocument/2006/relationships/image" Target="../media/image7.emf"/><Relationship Id="rId5" Type="http://schemas.openxmlformats.org/officeDocument/2006/relationships/oleObject" Target="../embeddings/oleObject167.bin"/><Relationship Id="rId4"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365.xml"/><Relationship Id="rId2" Type="http://schemas.openxmlformats.org/officeDocument/2006/relationships/tags" Target="../tags/tag364.xml"/><Relationship Id="rId1" Type="http://schemas.openxmlformats.org/officeDocument/2006/relationships/vmlDrawing" Target="../drawings/vmlDrawing206.vml"/><Relationship Id="rId6" Type="http://schemas.openxmlformats.org/officeDocument/2006/relationships/image" Target="../media/image7.emf"/><Relationship Id="rId5" Type="http://schemas.openxmlformats.org/officeDocument/2006/relationships/oleObject" Target="../embeddings/oleObject168.bin"/><Relationship Id="rId4"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367.xml"/><Relationship Id="rId2" Type="http://schemas.openxmlformats.org/officeDocument/2006/relationships/tags" Target="../tags/tag366.xml"/><Relationship Id="rId1" Type="http://schemas.openxmlformats.org/officeDocument/2006/relationships/vmlDrawing" Target="../drawings/vmlDrawing207.vml"/><Relationship Id="rId6" Type="http://schemas.openxmlformats.org/officeDocument/2006/relationships/image" Target="../media/image7.emf"/><Relationship Id="rId5" Type="http://schemas.openxmlformats.org/officeDocument/2006/relationships/oleObject" Target="../embeddings/oleObject169.bin"/><Relationship Id="rId4"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208.vml"/><Relationship Id="rId6" Type="http://schemas.openxmlformats.org/officeDocument/2006/relationships/image" Target="../media/image7.emf"/><Relationship Id="rId5" Type="http://schemas.openxmlformats.org/officeDocument/2006/relationships/oleObject" Target="../embeddings/oleObject170.bin"/><Relationship Id="rId4"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vmlDrawing" Target="../drawings/vmlDrawing209.vml"/><Relationship Id="rId6" Type="http://schemas.openxmlformats.org/officeDocument/2006/relationships/image" Target="../media/image7.emf"/><Relationship Id="rId5" Type="http://schemas.openxmlformats.org/officeDocument/2006/relationships/oleObject" Target="../embeddings/oleObject171.bin"/><Relationship Id="rId4"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vmlDrawing" Target="../drawings/vmlDrawing210.vml"/><Relationship Id="rId6" Type="http://schemas.openxmlformats.org/officeDocument/2006/relationships/image" Target="../media/image7.emf"/><Relationship Id="rId5" Type="http://schemas.openxmlformats.org/officeDocument/2006/relationships/oleObject" Target="../embeddings/oleObject172.bin"/><Relationship Id="rId4"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74.xml"/><Relationship Id="rId1" Type="http://schemas.openxmlformats.org/officeDocument/2006/relationships/vmlDrawing" Target="../drawings/vmlDrawing211.vml"/><Relationship Id="rId5" Type="http://schemas.openxmlformats.org/officeDocument/2006/relationships/image" Target="../media/image7.emf"/><Relationship Id="rId4" Type="http://schemas.openxmlformats.org/officeDocument/2006/relationships/oleObject" Target="../embeddings/oleObject173.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75.xml"/><Relationship Id="rId1" Type="http://schemas.openxmlformats.org/officeDocument/2006/relationships/vmlDrawing" Target="../drawings/vmlDrawing212.vml"/><Relationship Id="rId6" Type="http://schemas.openxmlformats.org/officeDocument/2006/relationships/image" Target="../media/image7.emf"/><Relationship Id="rId5" Type="http://schemas.openxmlformats.org/officeDocument/2006/relationships/oleObject" Target="../embeddings/oleObject174.bin"/><Relationship Id="rId4" Type="http://schemas.openxmlformats.org/officeDocument/2006/relationships/image" Target="../media/image18.jpeg"/></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376.xml"/><Relationship Id="rId2" Type="http://schemas.openxmlformats.org/officeDocument/2006/relationships/vmlDrawing" Target="../drawings/vmlDrawing213.vml"/><Relationship Id="rId1" Type="http://schemas.openxmlformats.org/officeDocument/2006/relationships/themeOverride" Target="../theme/themeOverride75.xml"/><Relationship Id="rId6" Type="http://schemas.openxmlformats.org/officeDocument/2006/relationships/image" Target="../media/image7.emf"/><Relationship Id="rId5" Type="http://schemas.openxmlformats.org/officeDocument/2006/relationships/oleObject" Target="../embeddings/oleObject175.bin"/><Relationship Id="rId4"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214.vml"/><Relationship Id="rId6" Type="http://schemas.openxmlformats.org/officeDocument/2006/relationships/image" Target="../media/image7.emf"/><Relationship Id="rId5" Type="http://schemas.openxmlformats.org/officeDocument/2006/relationships/oleObject" Target="../embeddings/oleObject176.bin"/><Relationship Id="rId4"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1.xml"/><Relationship Id="rId7" Type="http://schemas.openxmlformats.org/officeDocument/2006/relationships/image" Target="../media/image7.emf"/><Relationship Id="rId2" Type="http://schemas.openxmlformats.org/officeDocument/2006/relationships/vmlDrawing" Target="../drawings/vmlDrawing22.vml"/><Relationship Id="rId1" Type="http://schemas.openxmlformats.org/officeDocument/2006/relationships/themeOverride" Target="../theme/themeOverride10.x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2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79.xml"/><Relationship Id="rId7" Type="http://schemas.openxmlformats.org/officeDocument/2006/relationships/image" Target="../media/image7.emf"/><Relationship Id="rId2" Type="http://schemas.openxmlformats.org/officeDocument/2006/relationships/vmlDrawing" Target="../drawings/vmlDrawing215.vml"/><Relationship Id="rId1" Type="http://schemas.openxmlformats.org/officeDocument/2006/relationships/themeOverride" Target="../theme/themeOverride76.xml"/><Relationship Id="rId6" Type="http://schemas.openxmlformats.org/officeDocument/2006/relationships/oleObject" Target="../embeddings/oleObject177.bin"/><Relationship Id="rId5" Type="http://schemas.openxmlformats.org/officeDocument/2006/relationships/slideMaster" Target="../slideMasters/slideMaster14.xml"/><Relationship Id="rId4" Type="http://schemas.openxmlformats.org/officeDocument/2006/relationships/tags" Target="../tags/tag380.xml"/></Relationships>
</file>

<file path=ppt/slideLayouts/_rels/slideLayout2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81.xml"/><Relationship Id="rId7" Type="http://schemas.openxmlformats.org/officeDocument/2006/relationships/image" Target="../media/image7.emf"/><Relationship Id="rId2" Type="http://schemas.openxmlformats.org/officeDocument/2006/relationships/vmlDrawing" Target="../drawings/vmlDrawing216.vml"/><Relationship Id="rId1" Type="http://schemas.openxmlformats.org/officeDocument/2006/relationships/themeOverride" Target="../theme/themeOverride77.xml"/><Relationship Id="rId6" Type="http://schemas.openxmlformats.org/officeDocument/2006/relationships/oleObject" Target="../embeddings/oleObject178.bin"/><Relationship Id="rId5" Type="http://schemas.openxmlformats.org/officeDocument/2006/relationships/slideMaster" Target="../slideMasters/slideMaster14.xml"/><Relationship Id="rId4" Type="http://schemas.openxmlformats.org/officeDocument/2006/relationships/tags" Target="../tags/tag382.xml"/></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3.xml"/><Relationship Id="rId7" Type="http://schemas.openxmlformats.org/officeDocument/2006/relationships/image" Target="../media/image7.emf"/><Relationship Id="rId2" Type="http://schemas.openxmlformats.org/officeDocument/2006/relationships/vmlDrawing" Target="../drawings/vmlDrawing217.vml"/><Relationship Id="rId1" Type="http://schemas.openxmlformats.org/officeDocument/2006/relationships/themeOverride" Target="../theme/themeOverride78.xml"/><Relationship Id="rId6" Type="http://schemas.openxmlformats.org/officeDocument/2006/relationships/oleObject" Target="../embeddings/oleObject179.bin"/><Relationship Id="rId5" Type="http://schemas.openxmlformats.org/officeDocument/2006/relationships/slideMaster" Target="../slideMasters/slideMaster14.xml"/><Relationship Id="rId4" Type="http://schemas.openxmlformats.org/officeDocument/2006/relationships/tags" Target="../tags/tag384.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5.xml"/><Relationship Id="rId7" Type="http://schemas.openxmlformats.org/officeDocument/2006/relationships/image" Target="../media/image7.emf"/><Relationship Id="rId2" Type="http://schemas.openxmlformats.org/officeDocument/2006/relationships/vmlDrawing" Target="../drawings/vmlDrawing218.vml"/><Relationship Id="rId1" Type="http://schemas.openxmlformats.org/officeDocument/2006/relationships/themeOverride" Target="../theme/themeOverride79.xml"/><Relationship Id="rId6" Type="http://schemas.openxmlformats.org/officeDocument/2006/relationships/oleObject" Target="../embeddings/oleObject180.bin"/><Relationship Id="rId5" Type="http://schemas.openxmlformats.org/officeDocument/2006/relationships/slideMaster" Target="../slideMasters/slideMaster14.xml"/><Relationship Id="rId4" Type="http://schemas.openxmlformats.org/officeDocument/2006/relationships/tags" Target="../tags/tag386.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7.xml"/><Relationship Id="rId7" Type="http://schemas.openxmlformats.org/officeDocument/2006/relationships/image" Target="../media/image7.emf"/><Relationship Id="rId2" Type="http://schemas.openxmlformats.org/officeDocument/2006/relationships/vmlDrawing" Target="../drawings/vmlDrawing219.vml"/><Relationship Id="rId1" Type="http://schemas.openxmlformats.org/officeDocument/2006/relationships/themeOverride" Target="../theme/themeOverride80.xml"/><Relationship Id="rId6" Type="http://schemas.openxmlformats.org/officeDocument/2006/relationships/oleObject" Target="../embeddings/oleObject181.bin"/><Relationship Id="rId5" Type="http://schemas.openxmlformats.org/officeDocument/2006/relationships/slideMaster" Target="../slideMasters/slideMaster14.xml"/><Relationship Id="rId4" Type="http://schemas.openxmlformats.org/officeDocument/2006/relationships/tags" Target="../tags/tag388.xml"/></Relationships>
</file>

<file path=ppt/slideLayouts/_rels/slideLayout2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9.xml"/><Relationship Id="rId7" Type="http://schemas.openxmlformats.org/officeDocument/2006/relationships/image" Target="../media/image7.emf"/><Relationship Id="rId2" Type="http://schemas.openxmlformats.org/officeDocument/2006/relationships/vmlDrawing" Target="../drawings/vmlDrawing220.vml"/><Relationship Id="rId1" Type="http://schemas.openxmlformats.org/officeDocument/2006/relationships/themeOverride" Target="../theme/themeOverride81.xml"/><Relationship Id="rId6" Type="http://schemas.openxmlformats.org/officeDocument/2006/relationships/oleObject" Target="../embeddings/oleObject182.bin"/><Relationship Id="rId5" Type="http://schemas.openxmlformats.org/officeDocument/2006/relationships/slideMaster" Target="../slideMasters/slideMaster14.xml"/><Relationship Id="rId4" Type="http://schemas.openxmlformats.org/officeDocument/2006/relationships/tags" Target="../tags/tag390.xml"/></Relationships>
</file>

<file path=ppt/slideLayouts/_rels/slideLayout2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91.xml"/><Relationship Id="rId7" Type="http://schemas.openxmlformats.org/officeDocument/2006/relationships/image" Target="../media/image7.emf"/><Relationship Id="rId2" Type="http://schemas.openxmlformats.org/officeDocument/2006/relationships/vmlDrawing" Target="../drawings/vmlDrawing221.vml"/><Relationship Id="rId1" Type="http://schemas.openxmlformats.org/officeDocument/2006/relationships/themeOverride" Target="../theme/themeOverride82.xml"/><Relationship Id="rId6" Type="http://schemas.openxmlformats.org/officeDocument/2006/relationships/oleObject" Target="../embeddings/oleObject183.bin"/><Relationship Id="rId5" Type="http://schemas.openxmlformats.org/officeDocument/2006/relationships/slideMaster" Target="../slideMasters/slideMaster14.xml"/><Relationship Id="rId4" Type="http://schemas.openxmlformats.org/officeDocument/2006/relationships/tags" Target="../tags/tag392.xml"/></Relationships>
</file>

<file path=ppt/slideLayouts/_rels/slideLayout2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93.xml"/><Relationship Id="rId7" Type="http://schemas.openxmlformats.org/officeDocument/2006/relationships/image" Target="../media/image7.emf"/><Relationship Id="rId2" Type="http://schemas.openxmlformats.org/officeDocument/2006/relationships/vmlDrawing" Target="../drawings/vmlDrawing222.vml"/><Relationship Id="rId1" Type="http://schemas.openxmlformats.org/officeDocument/2006/relationships/themeOverride" Target="../theme/themeOverride83.xml"/><Relationship Id="rId6" Type="http://schemas.openxmlformats.org/officeDocument/2006/relationships/oleObject" Target="../embeddings/oleObject184.bin"/><Relationship Id="rId5" Type="http://schemas.openxmlformats.org/officeDocument/2006/relationships/slideMaster" Target="../slideMasters/slideMaster14.xml"/><Relationship Id="rId4" Type="http://schemas.openxmlformats.org/officeDocument/2006/relationships/tags" Target="../tags/tag394.xml"/></Relationships>
</file>

<file path=ppt/slideLayouts/_rels/slideLayout2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95.xml"/><Relationship Id="rId7" Type="http://schemas.openxmlformats.org/officeDocument/2006/relationships/image" Target="../media/image7.emf"/><Relationship Id="rId2" Type="http://schemas.openxmlformats.org/officeDocument/2006/relationships/vmlDrawing" Target="../drawings/vmlDrawing223.vml"/><Relationship Id="rId1" Type="http://schemas.openxmlformats.org/officeDocument/2006/relationships/themeOverride" Target="../theme/themeOverride84.xml"/><Relationship Id="rId6" Type="http://schemas.openxmlformats.org/officeDocument/2006/relationships/oleObject" Target="../embeddings/oleObject185.bin"/><Relationship Id="rId5" Type="http://schemas.openxmlformats.org/officeDocument/2006/relationships/slideMaster" Target="../slideMasters/slideMaster14.xml"/><Relationship Id="rId4" Type="http://schemas.openxmlformats.org/officeDocument/2006/relationships/tags" Target="../tags/tag396.xml"/></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398.xml"/><Relationship Id="rId7" Type="http://schemas.openxmlformats.org/officeDocument/2006/relationships/image" Target="../media/image10.png"/><Relationship Id="rId2" Type="http://schemas.openxmlformats.org/officeDocument/2006/relationships/tags" Target="../tags/tag397.xml"/><Relationship Id="rId1" Type="http://schemas.openxmlformats.org/officeDocument/2006/relationships/vmlDrawing" Target="../drawings/vmlDrawing224.vml"/><Relationship Id="rId6" Type="http://schemas.openxmlformats.org/officeDocument/2006/relationships/image" Target="../media/image7.emf"/><Relationship Id="rId5" Type="http://schemas.openxmlformats.org/officeDocument/2006/relationships/oleObject" Target="../embeddings/oleObject186.bin"/><Relationship Id="rId4"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0.png"/><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99.xml"/><Relationship Id="rId7" Type="http://schemas.openxmlformats.org/officeDocument/2006/relationships/image" Target="../media/image7.emf"/><Relationship Id="rId2" Type="http://schemas.openxmlformats.org/officeDocument/2006/relationships/vmlDrawing" Target="../drawings/vmlDrawing225.vml"/><Relationship Id="rId1" Type="http://schemas.openxmlformats.org/officeDocument/2006/relationships/themeOverride" Target="../theme/themeOverride85.xml"/><Relationship Id="rId6" Type="http://schemas.openxmlformats.org/officeDocument/2006/relationships/oleObject" Target="../embeddings/oleObject187.bin"/><Relationship Id="rId5" Type="http://schemas.openxmlformats.org/officeDocument/2006/relationships/slideMaster" Target="../slideMasters/slideMaster14.xml"/><Relationship Id="rId4" Type="http://schemas.openxmlformats.org/officeDocument/2006/relationships/tags" Target="../tags/tag400.xml"/></Relationships>
</file>

<file path=ppt/slideLayouts/_rels/slideLayout2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01.xml"/><Relationship Id="rId7" Type="http://schemas.openxmlformats.org/officeDocument/2006/relationships/image" Target="../media/image7.emf"/><Relationship Id="rId2" Type="http://schemas.openxmlformats.org/officeDocument/2006/relationships/vmlDrawing" Target="../drawings/vmlDrawing226.vml"/><Relationship Id="rId1" Type="http://schemas.openxmlformats.org/officeDocument/2006/relationships/themeOverride" Target="../theme/themeOverride86.xml"/><Relationship Id="rId6" Type="http://schemas.openxmlformats.org/officeDocument/2006/relationships/oleObject" Target="../embeddings/oleObject188.bin"/><Relationship Id="rId5" Type="http://schemas.openxmlformats.org/officeDocument/2006/relationships/slideMaster" Target="../slideMasters/slideMaster14.xml"/><Relationship Id="rId4" Type="http://schemas.openxmlformats.org/officeDocument/2006/relationships/tags" Target="../tags/tag402.xml"/></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403.xml"/><Relationship Id="rId7" Type="http://schemas.openxmlformats.org/officeDocument/2006/relationships/image" Target="../media/image7.emf"/><Relationship Id="rId2" Type="http://schemas.openxmlformats.org/officeDocument/2006/relationships/vmlDrawing" Target="../drawings/vmlDrawing227.vml"/><Relationship Id="rId1" Type="http://schemas.openxmlformats.org/officeDocument/2006/relationships/themeOverride" Target="../theme/themeOverride87.xml"/><Relationship Id="rId6" Type="http://schemas.openxmlformats.org/officeDocument/2006/relationships/oleObject" Target="../embeddings/oleObject189.bin"/><Relationship Id="rId5" Type="http://schemas.openxmlformats.org/officeDocument/2006/relationships/slideMaster" Target="../slideMasters/slideMaster14.xml"/><Relationship Id="rId4" Type="http://schemas.openxmlformats.org/officeDocument/2006/relationships/tags" Target="../tags/tag404.xml"/></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406.xml"/><Relationship Id="rId2" Type="http://schemas.openxmlformats.org/officeDocument/2006/relationships/tags" Target="../tags/tag405.xml"/><Relationship Id="rId1" Type="http://schemas.openxmlformats.org/officeDocument/2006/relationships/vmlDrawing" Target="../drawings/vmlDrawing228.vml"/><Relationship Id="rId6" Type="http://schemas.openxmlformats.org/officeDocument/2006/relationships/image" Target="../media/image7.emf"/><Relationship Id="rId5" Type="http://schemas.openxmlformats.org/officeDocument/2006/relationships/oleObject" Target="../embeddings/oleObject190.bin"/><Relationship Id="rId4"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407.xml"/><Relationship Id="rId7" Type="http://schemas.openxmlformats.org/officeDocument/2006/relationships/image" Target="../media/image9.png"/><Relationship Id="rId2" Type="http://schemas.openxmlformats.org/officeDocument/2006/relationships/vmlDrawing" Target="../drawings/vmlDrawing229.vml"/><Relationship Id="rId1" Type="http://schemas.openxmlformats.org/officeDocument/2006/relationships/themeOverride" Target="../theme/themeOverride88.xml"/><Relationship Id="rId6" Type="http://schemas.openxmlformats.org/officeDocument/2006/relationships/image" Target="../media/image11.emf"/><Relationship Id="rId5" Type="http://schemas.openxmlformats.org/officeDocument/2006/relationships/oleObject" Target="../embeddings/oleObject191.bin"/><Relationship Id="rId4"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6.jpeg"/><Relationship Id="rId2" Type="http://schemas.openxmlformats.org/officeDocument/2006/relationships/tags" Target="../tags/tag408.xml"/><Relationship Id="rId1" Type="http://schemas.openxmlformats.org/officeDocument/2006/relationships/vmlDrawing" Target="../drawings/vmlDrawing230.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92.bin"/></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410.xml"/><Relationship Id="rId7" Type="http://schemas.openxmlformats.org/officeDocument/2006/relationships/image" Target="../media/image7.emf"/><Relationship Id="rId2" Type="http://schemas.openxmlformats.org/officeDocument/2006/relationships/tags" Target="../tags/tag409.xml"/><Relationship Id="rId1" Type="http://schemas.openxmlformats.org/officeDocument/2006/relationships/vmlDrawing" Target="../drawings/vmlDrawing231.vml"/><Relationship Id="rId6" Type="http://schemas.openxmlformats.org/officeDocument/2006/relationships/oleObject" Target="../embeddings/oleObject193.bin"/><Relationship Id="rId5" Type="http://schemas.openxmlformats.org/officeDocument/2006/relationships/image" Target="../media/image12.jpeg"/><Relationship Id="rId4"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414.xml"/><Relationship Id="rId7" Type="http://schemas.openxmlformats.org/officeDocument/2006/relationships/image" Target="../media/image5.png"/><Relationship Id="rId2" Type="http://schemas.openxmlformats.org/officeDocument/2006/relationships/tags" Target="../tags/tag413.xml"/><Relationship Id="rId1" Type="http://schemas.openxmlformats.org/officeDocument/2006/relationships/vmlDrawing" Target="../drawings/vmlDrawing233.vml"/><Relationship Id="rId6" Type="http://schemas.openxmlformats.org/officeDocument/2006/relationships/image" Target="../media/image2.emf"/><Relationship Id="rId5" Type="http://schemas.openxmlformats.org/officeDocument/2006/relationships/oleObject" Target="../embeddings/oleObject195.bin"/><Relationship Id="rId4"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415.xml"/><Relationship Id="rId2" Type="http://schemas.openxmlformats.org/officeDocument/2006/relationships/vmlDrawing" Target="../drawings/vmlDrawing234.vml"/><Relationship Id="rId1" Type="http://schemas.openxmlformats.org/officeDocument/2006/relationships/themeOverride" Target="../theme/themeOverride89.xml"/><Relationship Id="rId6" Type="http://schemas.openxmlformats.org/officeDocument/2006/relationships/image" Target="../media/image7.emf"/><Relationship Id="rId5" Type="http://schemas.openxmlformats.org/officeDocument/2006/relationships/oleObject" Target="../embeddings/oleObject196.bin"/><Relationship Id="rId4"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5.xml"/><Relationship Id="rId7" Type="http://schemas.openxmlformats.org/officeDocument/2006/relationships/image" Target="../media/image7.emf"/><Relationship Id="rId2" Type="http://schemas.openxmlformats.org/officeDocument/2006/relationships/vmlDrawing" Target="../drawings/vmlDrawing24.vml"/><Relationship Id="rId1" Type="http://schemas.openxmlformats.org/officeDocument/2006/relationships/themeOverride" Target="../theme/themeOverride11.x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15.jpeg"/><Relationship Id="rId2" Type="http://schemas.openxmlformats.org/officeDocument/2006/relationships/tags" Target="../tags/tag416.xml"/><Relationship Id="rId1" Type="http://schemas.openxmlformats.org/officeDocument/2006/relationships/vmlDrawing" Target="../drawings/vmlDrawing235.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197.bin"/></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vmlDrawing" Target="../drawings/vmlDrawing236.vml"/><Relationship Id="rId6" Type="http://schemas.openxmlformats.org/officeDocument/2006/relationships/image" Target="../media/image7.emf"/><Relationship Id="rId5" Type="http://schemas.openxmlformats.org/officeDocument/2006/relationships/oleObject" Target="../embeddings/oleObject198.bin"/><Relationship Id="rId4"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419.xml"/><Relationship Id="rId2" Type="http://schemas.openxmlformats.org/officeDocument/2006/relationships/vmlDrawing" Target="../drawings/vmlDrawing237.vml"/><Relationship Id="rId1" Type="http://schemas.openxmlformats.org/officeDocument/2006/relationships/themeOverride" Target="../theme/themeOverride90.xml"/><Relationship Id="rId6" Type="http://schemas.openxmlformats.org/officeDocument/2006/relationships/image" Target="../media/image7.emf"/><Relationship Id="rId5" Type="http://schemas.openxmlformats.org/officeDocument/2006/relationships/oleObject" Target="../embeddings/oleObject199.bin"/><Relationship Id="rId4"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421.xml"/><Relationship Id="rId7" Type="http://schemas.openxmlformats.org/officeDocument/2006/relationships/image" Target="../media/image7.emf"/><Relationship Id="rId2" Type="http://schemas.openxmlformats.org/officeDocument/2006/relationships/tags" Target="../tags/tag420.xml"/><Relationship Id="rId1" Type="http://schemas.openxmlformats.org/officeDocument/2006/relationships/vmlDrawing" Target="../drawings/vmlDrawing238.vml"/><Relationship Id="rId6" Type="http://schemas.openxmlformats.org/officeDocument/2006/relationships/oleObject" Target="../embeddings/oleObject200.bin"/><Relationship Id="rId5" Type="http://schemas.openxmlformats.org/officeDocument/2006/relationships/image" Target="../media/image17.jpeg"/><Relationship Id="rId4"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25.xml"/><Relationship Id="rId7" Type="http://schemas.openxmlformats.org/officeDocument/2006/relationships/image" Target="../media/image3.jpeg"/><Relationship Id="rId2" Type="http://schemas.openxmlformats.org/officeDocument/2006/relationships/tags" Target="../tags/tag424.xml"/><Relationship Id="rId1" Type="http://schemas.openxmlformats.org/officeDocument/2006/relationships/vmlDrawing" Target="../drawings/vmlDrawing240.vml"/><Relationship Id="rId6" Type="http://schemas.openxmlformats.org/officeDocument/2006/relationships/image" Target="../media/image2.emf"/><Relationship Id="rId5" Type="http://schemas.openxmlformats.org/officeDocument/2006/relationships/oleObject" Target="../embeddings/oleObject202.bin"/><Relationship Id="rId4"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427.xml"/><Relationship Id="rId7" Type="http://schemas.openxmlformats.org/officeDocument/2006/relationships/image" Target="../media/image5.png"/><Relationship Id="rId2" Type="http://schemas.openxmlformats.org/officeDocument/2006/relationships/tags" Target="../tags/tag426.xml"/><Relationship Id="rId1" Type="http://schemas.openxmlformats.org/officeDocument/2006/relationships/vmlDrawing" Target="../drawings/vmlDrawing241.vml"/><Relationship Id="rId6" Type="http://schemas.openxmlformats.org/officeDocument/2006/relationships/image" Target="../media/image2.emf"/><Relationship Id="rId5" Type="http://schemas.openxmlformats.org/officeDocument/2006/relationships/oleObject" Target="../embeddings/oleObject203.bin"/><Relationship Id="rId4"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vmlDrawing" Target="../drawings/vmlDrawing242.vml"/><Relationship Id="rId6" Type="http://schemas.openxmlformats.org/officeDocument/2006/relationships/image" Target="../media/image7.emf"/><Relationship Id="rId5" Type="http://schemas.openxmlformats.org/officeDocument/2006/relationships/oleObject" Target="../embeddings/oleObject204.bin"/><Relationship Id="rId4"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vmlDrawing" Target="../drawings/vmlDrawing243.vml"/><Relationship Id="rId6" Type="http://schemas.openxmlformats.org/officeDocument/2006/relationships/image" Target="../media/image7.emf"/><Relationship Id="rId5" Type="http://schemas.openxmlformats.org/officeDocument/2006/relationships/oleObject" Target="../embeddings/oleObject205.bin"/><Relationship Id="rId4"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433.xml"/><Relationship Id="rId2" Type="http://schemas.openxmlformats.org/officeDocument/2006/relationships/tags" Target="../tags/tag432.xml"/><Relationship Id="rId1" Type="http://schemas.openxmlformats.org/officeDocument/2006/relationships/vmlDrawing" Target="../drawings/vmlDrawing244.vml"/><Relationship Id="rId6" Type="http://schemas.openxmlformats.org/officeDocument/2006/relationships/image" Target="../media/image7.emf"/><Relationship Id="rId5" Type="http://schemas.openxmlformats.org/officeDocument/2006/relationships/oleObject" Target="../embeddings/oleObject206.bin"/><Relationship Id="rId4"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435.xml"/><Relationship Id="rId2" Type="http://schemas.openxmlformats.org/officeDocument/2006/relationships/tags" Target="../tags/tag434.xml"/><Relationship Id="rId1" Type="http://schemas.openxmlformats.org/officeDocument/2006/relationships/vmlDrawing" Target="../drawings/vmlDrawing245.vml"/><Relationship Id="rId6" Type="http://schemas.openxmlformats.org/officeDocument/2006/relationships/image" Target="../media/image7.emf"/><Relationship Id="rId5" Type="http://schemas.openxmlformats.org/officeDocument/2006/relationships/oleObject" Target="../embeddings/oleObject207.bin"/><Relationship Id="rId4"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7.xml"/><Relationship Id="rId7" Type="http://schemas.openxmlformats.org/officeDocument/2006/relationships/image" Target="../media/image7.emf"/><Relationship Id="rId2" Type="http://schemas.openxmlformats.org/officeDocument/2006/relationships/vmlDrawing" Target="../drawings/vmlDrawing25.vml"/><Relationship Id="rId1" Type="http://schemas.openxmlformats.org/officeDocument/2006/relationships/themeOverride" Target="../theme/themeOverride12.xml"/><Relationship Id="rId6" Type="http://schemas.openxmlformats.org/officeDocument/2006/relationships/oleObject" Target="../embeddings/oleObject25.bin"/><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437.xml"/><Relationship Id="rId2" Type="http://schemas.openxmlformats.org/officeDocument/2006/relationships/tags" Target="../tags/tag436.xml"/><Relationship Id="rId1" Type="http://schemas.openxmlformats.org/officeDocument/2006/relationships/vmlDrawing" Target="../drawings/vmlDrawing246.vml"/><Relationship Id="rId6" Type="http://schemas.openxmlformats.org/officeDocument/2006/relationships/image" Target="../media/image7.emf"/><Relationship Id="rId5" Type="http://schemas.openxmlformats.org/officeDocument/2006/relationships/oleObject" Target="../embeddings/oleObject208.bin"/><Relationship Id="rId4"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247.vml"/><Relationship Id="rId6" Type="http://schemas.openxmlformats.org/officeDocument/2006/relationships/image" Target="../media/image7.emf"/><Relationship Id="rId5" Type="http://schemas.openxmlformats.org/officeDocument/2006/relationships/oleObject" Target="../embeddings/oleObject209.bin"/><Relationship Id="rId4"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40.xml"/><Relationship Id="rId1" Type="http://schemas.openxmlformats.org/officeDocument/2006/relationships/vmlDrawing" Target="../drawings/vmlDrawing248.vml"/><Relationship Id="rId6" Type="http://schemas.openxmlformats.org/officeDocument/2006/relationships/image" Target="../media/image19.png"/><Relationship Id="rId5" Type="http://schemas.openxmlformats.org/officeDocument/2006/relationships/image" Target="../media/image7.emf"/><Relationship Id="rId4" Type="http://schemas.openxmlformats.org/officeDocument/2006/relationships/oleObject" Target="../embeddings/oleObject210.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41.xml"/><Relationship Id="rId1" Type="http://schemas.openxmlformats.org/officeDocument/2006/relationships/vmlDrawing" Target="../drawings/vmlDrawing249.vml"/><Relationship Id="rId5" Type="http://schemas.openxmlformats.org/officeDocument/2006/relationships/image" Target="../media/image7.emf"/><Relationship Id="rId4" Type="http://schemas.openxmlformats.org/officeDocument/2006/relationships/oleObject" Target="../embeddings/oleObject211.bin"/></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442.xml"/><Relationship Id="rId2" Type="http://schemas.openxmlformats.org/officeDocument/2006/relationships/vmlDrawing" Target="../drawings/vmlDrawing250.vml"/><Relationship Id="rId1" Type="http://schemas.openxmlformats.org/officeDocument/2006/relationships/themeOverride" Target="../theme/themeOverride91.xml"/><Relationship Id="rId6" Type="http://schemas.openxmlformats.org/officeDocument/2006/relationships/image" Target="../media/image7.emf"/><Relationship Id="rId5" Type="http://schemas.openxmlformats.org/officeDocument/2006/relationships/oleObject" Target="../embeddings/oleObject212.bin"/><Relationship Id="rId4"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444.xml"/><Relationship Id="rId2" Type="http://schemas.openxmlformats.org/officeDocument/2006/relationships/tags" Target="../tags/tag443.xml"/><Relationship Id="rId1" Type="http://schemas.openxmlformats.org/officeDocument/2006/relationships/vmlDrawing" Target="../drawings/vmlDrawing251.vml"/><Relationship Id="rId6" Type="http://schemas.openxmlformats.org/officeDocument/2006/relationships/image" Target="../media/image7.emf"/><Relationship Id="rId5" Type="http://schemas.openxmlformats.org/officeDocument/2006/relationships/oleObject" Target="../embeddings/oleObject213.bin"/><Relationship Id="rId4"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45.xml"/><Relationship Id="rId7" Type="http://schemas.openxmlformats.org/officeDocument/2006/relationships/image" Target="../media/image7.emf"/><Relationship Id="rId2" Type="http://schemas.openxmlformats.org/officeDocument/2006/relationships/vmlDrawing" Target="../drawings/vmlDrawing252.vml"/><Relationship Id="rId1" Type="http://schemas.openxmlformats.org/officeDocument/2006/relationships/themeOverride" Target="../theme/themeOverride92.xml"/><Relationship Id="rId6" Type="http://schemas.openxmlformats.org/officeDocument/2006/relationships/oleObject" Target="../embeddings/oleObject214.bin"/><Relationship Id="rId5" Type="http://schemas.openxmlformats.org/officeDocument/2006/relationships/slideMaster" Target="../slideMasters/slideMaster16.xml"/><Relationship Id="rId4" Type="http://schemas.openxmlformats.org/officeDocument/2006/relationships/tags" Target="../tags/tag446.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47.xml"/><Relationship Id="rId7" Type="http://schemas.openxmlformats.org/officeDocument/2006/relationships/image" Target="../media/image7.emf"/><Relationship Id="rId2" Type="http://schemas.openxmlformats.org/officeDocument/2006/relationships/vmlDrawing" Target="../drawings/vmlDrawing253.vml"/><Relationship Id="rId1" Type="http://schemas.openxmlformats.org/officeDocument/2006/relationships/themeOverride" Target="../theme/themeOverride93.xml"/><Relationship Id="rId6" Type="http://schemas.openxmlformats.org/officeDocument/2006/relationships/oleObject" Target="../embeddings/oleObject215.bin"/><Relationship Id="rId5" Type="http://schemas.openxmlformats.org/officeDocument/2006/relationships/slideMaster" Target="../slideMasters/slideMaster16.xml"/><Relationship Id="rId4" Type="http://schemas.openxmlformats.org/officeDocument/2006/relationships/tags" Target="../tags/tag448.xml"/></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49.xml"/><Relationship Id="rId7" Type="http://schemas.openxmlformats.org/officeDocument/2006/relationships/image" Target="../media/image7.emf"/><Relationship Id="rId2" Type="http://schemas.openxmlformats.org/officeDocument/2006/relationships/vmlDrawing" Target="../drawings/vmlDrawing254.vml"/><Relationship Id="rId1" Type="http://schemas.openxmlformats.org/officeDocument/2006/relationships/themeOverride" Target="../theme/themeOverride94.xml"/><Relationship Id="rId6" Type="http://schemas.openxmlformats.org/officeDocument/2006/relationships/oleObject" Target="../embeddings/oleObject216.bin"/><Relationship Id="rId5" Type="http://schemas.openxmlformats.org/officeDocument/2006/relationships/slideMaster" Target="../slideMasters/slideMaster16.xml"/><Relationship Id="rId4" Type="http://schemas.openxmlformats.org/officeDocument/2006/relationships/tags" Target="../tags/tag450.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51.xml"/><Relationship Id="rId7" Type="http://schemas.openxmlformats.org/officeDocument/2006/relationships/image" Target="../media/image7.emf"/><Relationship Id="rId2" Type="http://schemas.openxmlformats.org/officeDocument/2006/relationships/vmlDrawing" Target="../drawings/vmlDrawing255.vml"/><Relationship Id="rId1" Type="http://schemas.openxmlformats.org/officeDocument/2006/relationships/themeOverride" Target="../theme/themeOverride95.xml"/><Relationship Id="rId6" Type="http://schemas.openxmlformats.org/officeDocument/2006/relationships/oleObject" Target="../embeddings/oleObject217.bin"/><Relationship Id="rId5" Type="http://schemas.openxmlformats.org/officeDocument/2006/relationships/slideMaster" Target="../slideMasters/slideMaster16.xml"/><Relationship Id="rId4" Type="http://schemas.openxmlformats.org/officeDocument/2006/relationships/tags" Target="../tags/tag45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7.emf"/><Relationship Id="rId2" Type="http://schemas.openxmlformats.org/officeDocument/2006/relationships/vmlDrawing" Target="../drawings/vmlDrawing26.vml"/><Relationship Id="rId1" Type="http://schemas.openxmlformats.org/officeDocument/2006/relationships/themeOverride" Target="../theme/themeOverride13.xml"/><Relationship Id="rId6" Type="http://schemas.openxmlformats.org/officeDocument/2006/relationships/oleObject" Target="../embeddings/oleObject26.bin"/><Relationship Id="rId5" Type="http://schemas.openxmlformats.org/officeDocument/2006/relationships/slideMaster" Target="../slideMasters/slideMaster1.xml"/><Relationship Id="rId4" Type="http://schemas.openxmlformats.org/officeDocument/2006/relationships/tags" Target="../tags/tag50.xml"/></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53.xml"/><Relationship Id="rId7" Type="http://schemas.openxmlformats.org/officeDocument/2006/relationships/image" Target="../media/image7.emf"/><Relationship Id="rId2" Type="http://schemas.openxmlformats.org/officeDocument/2006/relationships/vmlDrawing" Target="../drawings/vmlDrawing256.vml"/><Relationship Id="rId1" Type="http://schemas.openxmlformats.org/officeDocument/2006/relationships/themeOverride" Target="../theme/themeOverride96.xml"/><Relationship Id="rId6" Type="http://schemas.openxmlformats.org/officeDocument/2006/relationships/oleObject" Target="../embeddings/oleObject218.bin"/><Relationship Id="rId5" Type="http://schemas.openxmlformats.org/officeDocument/2006/relationships/slideMaster" Target="../slideMasters/slideMaster16.xml"/><Relationship Id="rId4" Type="http://schemas.openxmlformats.org/officeDocument/2006/relationships/tags" Target="../tags/tag454.xml"/></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55.xml"/><Relationship Id="rId7" Type="http://schemas.openxmlformats.org/officeDocument/2006/relationships/image" Target="../media/image7.emf"/><Relationship Id="rId2" Type="http://schemas.openxmlformats.org/officeDocument/2006/relationships/vmlDrawing" Target="../drawings/vmlDrawing257.vml"/><Relationship Id="rId1" Type="http://schemas.openxmlformats.org/officeDocument/2006/relationships/themeOverride" Target="../theme/themeOverride97.xml"/><Relationship Id="rId6" Type="http://schemas.openxmlformats.org/officeDocument/2006/relationships/oleObject" Target="../embeddings/oleObject219.bin"/><Relationship Id="rId5" Type="http://schemas.openxmlformats.org/officeDocument/2006/relationships/slideMaster" Target="../slideMasters/slideMaster16.xml"/><Relationship Id="rId4" Type="http://schemas.openxmlformats.org/officeDocument/2006/relationships/tags" Target="../tags/tag456.xml"/></Relationships>
</file>

<file path=ppt/slideLayouts/_rels/slideLayout25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57.xml"/><Relationship Id="rId7" Type="http://schemas.openxmlformats.org/officeDocument/2006/relationships/image" Target="../media/image7.emf"/><Relationship Id="rId2" Type="http://schemas.openxmlformats.org/officeDocument/2006/relationships/vmlDrawing" Target="../drawings/vmlDrawing258.vml"/><Relationship Id="rId1" Type="http://schemas.openxmlformats.org/officeDocument/2006/relationships/themeOverride" Target="../theme/themeOverride98.xml"/><Relationship Id="rId6" Type="http://schemas.openxmlformats.org/officeDocument/2006/relationships/oleObject" Target="../embeddings/oleObject220.bin"/><Relationship Id="rId5" Type="http://schemas.openxmlformats.org/officeDocument/2006/relationships/slideMaster" Target="../slideMasters/slideMaster16.xml"/><Relationship Id="rId4" Type="http://schemas.openxmlformats.org/officeDocument/2006/relationships/tags" Target="../tags/tag458.xml"/></Relationships>
</file>

<file path=ppt/slideLayouts/_rels/slideLayout25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59.xml"/><Relationship Id="rId7" Type="http://schemas.openxmlformats.org/officeDocument/2006/relationships/image" Target="../media/image7.emf"/><Relationship Id="rId2" Type="http://schemas.openxmlformats.org/officeDocument/2006/relationships/vmlDrawing" Target="../drawings/vmlDrawing259.vml"/><Relationship Id="rId1" Type="http://schemas.openxmlformats.org/officeDocument/2006/relationships/themeOverride" Target="../theme/themeOverride99.xml"/><Relationship Id="rId6" Type="http://schemas.openxmlformats.org/officeDocument/2006/relationships/oleObject" Target="../embeddings/oleObject221.bin"/><Relationship Id="rId5" Type="http://schemas.openxmlformats.org/officeDocument/2006/relationships/slideMaster" Target="../slideMasters/slideMaster16.xml"/><Relationship Id="rId4" Type="http://schemas.openxmlformats.org/officeDocument/2006/relationships/tags" Target="../tags/tag460.xml"/></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61.xml"/><Relationship Id="rId7" Type="http://schemas.openxmlformats.org/officeDocument/2006/relationships/image" Target="../media/image7.emf"/><Relationship Id="rId2" Type="http://schemas.openxmlformats.org/officeDocument/2006/relationships/vmlDrawing" Target="../drawings/vmlDrawing260.vml"/><Relationship Id="rId1" Type="http://schemas.openxmlformats.org/officeDocument/2006/relationships/themeOverride" Target="../theme/themeOverride100.xml"/><Relationship Id="rId6" Type="http://schemas.openxmlformats.org/officeDocument/2006/relationships/oleObject" Target="../embeddings/oleObject222.bin"/><Relationship Id="rId5" Type="http://schemas.openxmlformats.org/officeDocument/2006/relationships/slideMaster" Target="../slideMasters/slideMaster16.xml"/><Relationship Id="rId4" Type="http://schemas.openxmlformats.org/officeDocument/2006/relationships/tags" Target="../tags/tag462.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464.xml"/><Relationship Id="rId7" Type="http://schemas.openxmlformats.org/officeDocument/2006/relationships/image" Target="../media/image20.png"/><Relationship Id="rId2" Type="http://schemas.openxmlformats.org/officeDocument/2006/relationships/tags" Target="../tags/tag463.xml"/><Relationship Id="rId1" Type="http://schemas.openxmlformats.org/officeDocument/2006/relationships/vmlDrawing" Target="../drawings/vmlDrawing261.vml"/><Relationship Id="rId6" Type="http://schemas.openxmlformats.org/officeDocument/2006/relationships/image" Target="../media/image7.emf"/><Relationship Id="rId5" Type="http://schemas.openxmlformats.org/officeDocument/2006/relationships/oleObject" Target="../embeddings/oleObject223.bin"/><Relationship Id="rId4"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65.xml"/><Relationship Id="rId7" Type="http://schemas.openxmlformats.org/officeDocument/2006/relationships/image" Target="../media/image7.emf"/><Relationship Id="rId2" Type="http://schemas.openxmlformats.org/officeDocument/2006/relationships/vmlDrawing" Target="../drawings/vmlDrawing262.vml"/><Relationship Id="rId1" Type="http://schemas.openxmlformats.org/officeDocument/2006/relationships/themeOverride" Target="../theme/themeOverride101.xml"/><Relationship Id="rId6" Type="http://schemas.openxmlformats.org/officeDocument/2006/relationships/oleObject" Target="../embeddings/oleObject224.bin"/><Relationship Id="rId5" Type="http://schemas.openxmlformats.org/officeDocument/2006/relationships/slideMaster" Target="../slideMasters/slideMaster16.xml"/><Relationship Id="rId4" Type="http://schemas.openxmlformats.org/officeDocument/2006/relationships/tags" Target="../tags/tag466.xml"/></Relationships>
</file>

<file path=ppt/slideLayouts/_rels/slideLayout25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67.xml"/><Relationship Id="rId7" Type="http://schemas.openxmlformats.org/officeDocument/2006/relationships/image" Target="../media/image7.emf"/><Relationship Id="rId2" Type="http://schemas.openxmlformats.org/officeDocument/2006/relationships/vmlDrawing" Target="../drawings/vmlDrawing263.vml"/><Relationship Id="rId1" Type="http://schemas.openxmlformats.org/officeDocument/2006/relationships/themeOverride" Target="../theme/themeOverride102.xml"/><Relationship Id="rId6" Type="http://schemas.openxmlformats.org/officeDocument/2006/relationships/oleObject" Target="../embeddings/oleObject225.bin"/><Relationship Id="rId5" Type="http://schemas.openxmlformats.org/officeDocument/2006/relationships/slideMaster" Target="../slideMasters/slideMaster16.xml"/><Relationship Id="rId4" Type="http://schemas.openxmlformats.org/officeDocument/2006/relationships/tags" Target="../tags/tag468.xml"/></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469.xml"/><Relationship Id="rId7" Type="http://schemas.openxmlformats.org/officeDocument/2006/relationships/image" Target="../media/image7.emf"/><Relationship Id="rId2" Type="http://schemas.openxmlformats.org/officeDocument/2006/relationships/vmlDrawing" Target="../drawings/vmlDrawing264.vml"/><Relationship Id="rId1" Type="http://schemas.openxmlformats.org/officeDocument/2006/relationships/themeOverride" Target="../theme/themeOverride103.xml"/><Relationship Id="rId6" Type="http://schemas.openxmlformats.org/officeDocument/2006/relationships/oleObject" Target="../embeddings/oleObject226.bin"/><Relationship Id="rId5" Type="http://schemas.openxmlformats.org/officeDocument/2006/relationships/slideMaster" Target="../slideMasters/slideMaster16.xml"/><Relationship Id="rId4" Type="http://schemas.openxmlformats.org/officeDocument/2006/relationships/tags" Target="../tags/tag470.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472.xml"/><Relationship Id="rId2" Type="http://schemas.openxmlformats.org/officeDocument/2006/relationships/tags" Target="../tags/tag471.xml"/><Relationship Id="rId1" Type="http://schemas.openxmlformats.org/officeDocument/2006/relationships/vmlDrawing" Target="../drawings/vmlDrawing265.vml"/><Relationship Id="rId6" Type="http://schemas.openxmlformats.org/officeDocument/2006/relationships/image" Target="../media/image7.emf"/><Relationship Id="rId5" Type="http://schemas.openxmlformats.org/officeDocument/2006/relationships/oleObject" Target="../embeddings/oleObject227.bin"/><Relationship Id="rId4"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473.xml"/><Relationship Id="rId7" Type="http://schemas.openxmlformats.org/officeDocument/2006/relationships/image" Target="../media/image9.png"/><Relationship Id="rId2" Type="http://schemas.openxmlformats.org/officeDocument/2006/relationships/vmlDrawing" Target="../drawings/vmlDrawing266.vml"/><Relationship Id="rId1" Type="http://schemas.openxmlformats.org/officeDocument/2006/relationships/themeOverride" Target="../theme/themeOverride104.xml"/><Relationship Id="rId6" Type="http://schemas.openxmlformats.org/officeDocument/2006/relationships/image" Target="../media/image11.emf"/><Relationship Id="rId5" Type="http://schemas.openxmlformats.org/officeDocument/2006/relationships/oleObject" Target="../embeddings/oleObject228.bin"/><Relationship Id="rId4"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6.jpeg"/><Relationship Id="rId2" Type="http://schemas.openxmlformats.org/officeDocument/2006/relationships/tags" Target="../tags/tag474.xml"/><Relationship Id="rId1" Type="http://schemas.openxmlformats.org/officeDocument/2006/relationships/vmlDrawing" Target="../drawings/vmlDrawing267.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29.bin"/></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476.xml"/><Relationship Id="rId7" Type="http://schemas.openxmlformats.org/officeDocument/2006/relationships/image" Target="../media/image7.emf"/><Relationship Id="rId2" Type="http://schemas.openxmlformats.org/officeDocument/2006/relationships/tags" Target="../tags/tag475.xml"/><Relationship Id="rId1" Type="http://schemas.openxmlformats.org/officeDocument/2006/relationships/vmlDrawing" Target="../drawings/vmlDrawing268.vml"/><Relationship Id="rId6" Type="http://schemas.openxmlformats.org/officeDocument/2006/relationships/oleObject" Target="../embeddings/oleObject230.bin"/><Relationship Id="rId5" Type="http://schemas.openxmlformats.org/officeDocument/2006/relationships/image" Target="../media/image21.jpeg"/><Relationship Id="rId4"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480.xml"/><Relationship Id="rId7" Type="http://schemas.openxmlformats.org/officeDocument/2006/relationships/image" Target="../media/image5.png"/><Relationship Id="rId2" Type="http://schemas.openxmlformats.org/officeDocument/2006/relationships/tags" Target="../tags/tag479.xml"/><Relationship Id="rId1" Type="http://schemas.openxmlformats.org/officeDocument/2006/relationships/vmlDrawing" Target="../drawings/vmlDrawing270.vml"/><Relationship Id="rId6" Type="http://schemas.openxmlformats.org/officeDocument/2006/relationships/image" Target="../media/image2.emf"/><Relationship Id="rId5" Type="http://schemas.openxmlformats.org/officeDocument/2006/relationships/oleObject" Target="../embeddings/oleObject232.bin"/><Relationship Id="rId4" Type="http://schemas.openxmlformats.org/officeDocument/2006/relationships/slideMaster" Target="../slideMasters/slideMaster17.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481.xml"/><Relationship Id="rId2" Type="http://schemas.openxmlformats.org/officeDocument/2006/relationships/vmlDrawing" Target="../drawings/vmlDrawing271.vml"/><Relationship Id="rId1" Type="http://schemas.openxmlformats.org/officeDocument/2006/relationships/themeOverride" Target="../theme/themeOverride105.xml"/><Relationship Id="rId6" Type="http://schemas.openxmlformats.org/officeDocument/2006/relationships/image" Target="../media/image7.emf"/><Relationship Id="rId5" Type="http://schemas.openxmlformats.org/officeDocument/2006/relationships/oleObject" Target="../embeddings/oleObject233.bin"/><Relationship Id="rId4" Type="http://schemas.openxmlformats.org/officeDocument/2006/relationships/slideMaster" Target="../slideMasters/slideMaster17.xml"/></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5.jpeg"/><Relationship Id="rId2" Type="http://schemas.openxmlformats.org/officeDocument/2006/relationships/tags" Target="../tags/tag482.xml"/><Relationship Id="rId1" Type="http://schemas.openxmlformats.org/officeDocument/2006/relationships/vmlDrawing" Target="../drawings/vmlDrawing272.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234.bin"/></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484.xml"/><Relationship Id="rId2" Type="http://schemas.openxmlformats.org/officeDocument/2006/relationships/tags" Target="../tags/tag483.xml"/><Relationship Id="rId1" Type="http://schemas.openxmlformats.org/officeDocument/2006/relationships/vmlDrawing" Target="../drawings/vmlDrawing273.vml"/><Relationship Id="rId6" Type="http://schemas.openxmlformats.org/officeDocument/2006/relationships/image" Target="../media/image7.emf"/><Relationship Id="rId5" Type="http://schemas.openxmlformats.org/officeDocument/2006/relationships/oleObject" Target="../embeddings/oleObject235.bin"/><Relationship Id="rId4"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485.xml"/><Relationship Id="rId2" Type="http://schemas.openxmlformats.org/officeDocument/2006/relationships/vmlDrawing" Target="../drawings/vmlDrawing274.vml"/><Relationship Id="rId1" Type="http://schemas.openxmlformats.org/officeDocument/2006/relationships/themeOverride" Target="../theme/themeOverride106.xml"/><Relationship Id="rId6" Type="http://schemas.openxmlformats.org/officeDocument/2006/relationships/image" Target="../media/image7.emf"/><Relationship Id="rId5" Type="http://schemas.openxmlformats.org/officeDocument/2006/relationships/oleObject" Target="../embeddings/oleObject236.bin"/><Relationship Id="rId4" Type="http://schemas.openxmlformats.org/officeDocument/2006/relationships/slideMaster" Target="../slideMasters/slideMaster17.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487.xml"/><Relationship Id="rId2" Type="http://schemas.openxmlformats.org/officeDocument/2006/relationships/tags" Target="../tags/tag486.xml"/><Relationship Id="rId1" Type="http://schemas.openxmlformats.org/officeDocument/2006/relationships/vmlDrawing" Target="../drawings/vmlDrawing275.vml"/><Relationship Id="rId6" Type="http://schemas.openxmlformats.org/officeDocument/2006/relationships/image" Target="../media/image7.emf"/><Relationship Id="rId5" Type="http://schemas.openxmlformats.org/officeDocument/2006/relationships/oleObject" Target="../embeddings/oleObject237.bin"/><Relationship Id="rId4"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9.png"/><Relationship Id="rId2" Type="http://schemas.openxmlformats.org/officeDocument/2006/relationships/vmlDrawing" Target="../drawings/vmlDrawing28.vml"/><Relationship Id="rId1" Type="http://schemas.openxmlformats.org/officeDocument/2006/relationships/themeOverride" Target="../theme/themeOverride14.xml"/><Relationship Id="rId6" Type="http://schemas.openxmlformats.org/officeDocument/2006/relationships/image" Target="../media/image1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489.xml"/><Relationship Id="rId7" Type="http://schemas.openxmlformats.org/officeDocument/2006/relationships/image" Target="../media/image7.emf"/><Relationship Id="rId2" Type="http://schemas.openxmlformats.org/officeDocument/2006/relationships/tags" Target="../tags/tag488.xml"/><Relationship Id="rId1" Type="http://schemas.openxmlformats.org/officeDocument/2006/relationships/vmlDrawing" Target="../drawings/vmlDrawing276.vml"/><Relationship Id="rId6" Type="http://schemas.openxmlformats.org/officeDocument/2006/relationships/oleObject" Target="../embeddings/oleObject238.bin"/><Relationship Id="rId5" Type="http://schemas.openxmlformats.org/officeDocument/2006/relationships/image" Target="../media/image17.jpeg"/><Relationship Id="rId4" Type="http://schemas.openxmlformats.org/officeDocument/2006/relationships/slideMaster" Target="../slideMasters/slideMaster17.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491.xml"/><Relationship Id="rId2" Type="http://schemas.openxmlformats.org/officeDocument/2006/relationships/tags" Target="../tags/tag490.xml"/><Relationship Id="rId1" Type="http://schemas.openxmlformats.org/officeDocument/2006/relationships/vmlDrawing" Target="../drawings/vmlDrawing277.vml"/><Relationship Id="rId6" Type="http://schemas.openxmlformats.org/officeDocument/2006/relationships/image" Target="../media/image7.emf"/><Relationship Id="rId5" Type="http://schemas.openxmlformats.org/officeDocument/2006/relationships/oleObject" Target="../embeddings/oleObject239.bin"/><Relationship Id="rId4"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495.xml"/><Relationship Id="rId7" Type="http://schemas.openxmlformats.org/officeDocument/2006/relationships/image" Target="../media/image5.png"/><Relationship Id="rId2" Type="http://schemas.openxmlformats.org/officeDocument/2006/relationships/tags" Target="../tags/tag494.xml"/><Relationship Id="rId1" Type="http://schemas.openxmlformats.org/officeDocument/2006/relationships/vmlDrawing" Target="../drawings/vmlDrawing279.vml"/><Relationship Id="rId6" Type="http://schemas.openxmlformats.org/officeDocument/2006/relationships/image" Target="../media/image2.emf"/><Relationship Id="rId5" Type="http://schemas.openxmlformats.org/officeDocument/2006/relationships/oleObject" Target="../embeddings/oleObject241.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496.xml"/><Relationship Id="rId2" Type="http://schemas.openxmlformats.org/officeDocument/2006/relationships/vmlDrawing" Target="../drawings/vmlDrawing280.vml"/><Relationship Id="rId1" Type="http://schemas.openxmlformats.org/officeDocument/2006/relationships/themeOverride" Target="../theme/themeOverride107.xml"/><Relationship Id="rId6" Type="http://schemas.openxmlformats.org/officeDocument/2006/relationships/image" Target="../media/image7.emf"/><Relationship Id="rId5" Type="http://schemas.openxmlformats.org/officeDocument/2006/relationships/oleObject" Target="../embeddings/oleObject242.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15.jpeg"/><Relationship Id="rId2" Type="http://schemas.openxmlformats.org/officeDocument/2006/relationships/tags" Target="../tags/tag497.xml"/><Relationship Id="rId1" Type="http://schemas.openxmlformats.org/officeDocument/2006/relationships/vmlDrawing" Target="../drawings/vmlDrawing281.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243.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499.xml"/><Relationship Id="rId2" Type="http://schemas.openxmlformats.org/officeDocument/2006/relationships/tags" Target="../tags/tag498.xml"/><Relationship Id="rId1" Type="http://schemas.openxmlformats.org/officeDocument/2006/relationships/vmlDrawing" Target="../drawings/vmlDrawing282.vml"/><Relationship Id="rId6" Type="http://schemas.openxmlformats.org/officeDocument/2006/relationships/image" Target="../media/image7.emf"/><Relationship Id="rId5" Type="http://schemas.openxmlformats.org/officeDocument/2006/relationships/oleObject" Target="../embeddings/oleObject244.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vmlDrawing" Target="../drawings/vmlDrawing283.vml"/><Relationship Id="rId1" Type="http://schemas.openxmlformats.org/officeDocument/2006/relationships/themeOverride" Target="../theme/themeOverride108.xml"/><Relationship Id="rId6" Type="http://schemas.openxmlformats.org/officeDocument/2006/relationships/image" Target="../media/image7.emf"/><Relationship Id="rId5" Type="http://schemas.openxmlformats.org/officeDocument/2006/relationships/oleObject" Target="../embeddings/oleObject245.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502.xml"/><Relationship Id="rId2" Type="http://schemas.openxmlformats.org/officeDocument/2006/relationships/tags" Target="../tags/tag501.xml"/><Relationship Id="rId1" Type="http://schemas.openxmlformats.org/officeDocument/2006/relationships/vmlDrawing" Target="../drawings/vmlDrawing284.vml"/><Relationship Id="rId6" Type="http://schemas.openxmlformats.org/officeDocument/2006/relationships/image" Target="../media/image7.emf"/><Relationship Id="rId5" Type="http://schemas.openxmlformats.org/officeDocument/2006/relationships/oleObject" Target="../embeddings/oleObject246.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504.xml"/><Relationship Id="rId7" Type="http://schemas.openxmlformats.org/officeDocument/2006/relationships/image" Target="../media/image7.emf"/><Relationship Id="rId2" Type="http://schemas.openxmlformats.org/officeDocument/2006/relationships/tags" Target="../tags/tag503.xml"/><Relationship Id="rId1" Type="http://schemas.openxmlformats.org/officeDocument/2006/relationships/vmlDrawing" Target="../drawings/vmlDrawing285.vml"/><Relationship Id="rId6" Type="http://schemas.openxmlformats.org/officeDocument/2006/relationships/oleObject" Target="../embeddings/oleObject247.bin"/><Relationship Id="rId5" Type="http://schemas.openxmlformats.org/officeDocument/2006/relationships/image" Target="../media/image17.jpeg"/><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286.vml"/><Relationship Id="rId6" Type="http://schemas.openxmlformats.org/officeDocument/2006/relationships/image" Target="../media/image7.emf"/><Relationship Id="rId5" Type="http://schemas.openxmlformats.org/officeDocument/2006/relationships/oleObject" Target="../embeddings/oleObject248.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54.xml"/><Relationship Id="rId1" Type="http://schemas.openxmlformats.org/officeDocument/2006/relationships/vmlDrawing" Target="../drawings/vmlDrawing29.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510.xml"/><Relationship Id="rId7" Type="http://schemas.openxmlformats.org/officeDocument/2006/relationships/image" Target="../media/image5.png"/><Relationship Id="rId2" Type="http://schemas.openxmlformats.org/officeDocument/2006/relationships/tags" Target="../tags/tag509.xml"/><Relationship Id="rId1" Type="http://schemas.openxmlformats.org/officeDocument/2006/relationships/vmlDrawing" Target="../drawings/vmlDrawing288.vml"/><Relationship Id="rId6" Type="http://schemas.openxmlformats.org/officeDocument/2006/relationships/image" Target="../media/image2.emf"/><Relationship Id="rId5" Type="http://schemas.openxmlformats.org/officeDocument/2006/relationships/oleObject" Target="../embeddings/oleObject241.bin"/><Relationship Id="rId4" Type="http://schemas.openxmlformats.org/officeDocument/2006/relationships/slideMaster" Target="../slideMasters/slideMaster19.xml"/></Relationships>
</file>

<file path=ppt/slideLayouts/_rels/slideLayout281.xml.rels><?xml version="1.0" encoding="UTF-8" standalone="yes"?>
<Relationships xmlns="http://schemas.openxmlformats.org/package/2006/relationships"><Relationship Id="rId3" Type="http://schemas.openxmlformats.org/officeDocument/2006/relationships/tags" Target="../tags/tag511.xml"/><Relationship Id="rId2" Type="http://schemas.openxmlformats.org/officeDocument/2006/relationships/vmlDrawing" Target="../drawings/vmlDrawing289.vml"/><Relationship Id="rId1" Type="http://schemas.openxmlformats.org/officeDocument/2006/relationships/themeOverride" Target="../theme/themeOverride109.xml"/><Relationship Id="rId6" Type="http://schemas.openxmlformats.org/officeDocument/2006/relationships/image" Target="../media/image7.emf"/><Relationship Id="rId5" Type="http://schemas.openxmlformats.org/officeDocument/2006/relationships/oleObject" Target="../embeddings/oleObject242.bin"/><Relationship Id="rId4" Type="http://schemas.openxmlformats.org/officeDocument/2006/relationships/slideMaster" Target="../slideMasters/slideMaster19.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15.jpeg"/><Relationship Id="rId2" Type="http://schemas.openxmlformats.org/officeDocument/2006/relationships/tags" Target="../tags/tag512.xml"/><Relationship Id="rId1" Type="http://schemas.openxmlformats.org/officeDocument/2006/relationships/vmlDrawing" Target="../drawings/vmlDrawing290.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243.bin"/></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514.xml"/><Relationship Id="rId2" Type="http://schemas.openxmlformats.org/officeDocument/2006/relationships/tags" Target="../tags/tag513.xml"/><Relationship Id="rId1" Type="http://schemas.openxmlformats.org/officeDocument/2006/relationships/vmlDrawing" Target="../drawings/vmlDrawing291.vml"/><Relationship Id="rId6" Type="http://schemas.openxmlformats.org/officeDocument/2006/relationships/image" Target="../media/image7.emf"/><Relationship Id="rId5" Type="http://schemas.openxmlformats.org/officeDocument/2006/relationships/oleObject" Target="../embeddings/oleObject244.bin"/><Relationship Id="rId4" Type="http://schemas.openxmlformats.org/officeDocument/2006/relationships/slideMaster" Target="../slideMasters/slideMaster19.xml"/></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515.xml"/><Relationship Id="rId2" Type="http://schemas.openxmlformats.org/officeDocument/2006/relationships/vmlDrawing" Target="../drawings/vmlDrawing292.vml"/><Relationship Id="rId1" Type="http://schemas.openxmlformats.org/officeDocument/2006/relationships/themeOverride" Target="../theme/themeOverride110.xml"/><Relationship Id="rId6" Type="http://schemas.openxmlformats.org/officeDocument/2006/relationships/image" Target="../media/image7.emf"/><Relationship Id="rId5" Type="http://schemas.openxmlformats.org/officeDocument/2006/relationships/oleObject" Target="../embeddings/oleObject245.bin"/><Relationship Id="rId4" Type="http://schemas.openxmlformats.org/officeDocument/2006/relationships/slideMaster" Target="../slideMasters/slideMaster19.xml"/></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517.xml"/><Relationship Id="rId2" Type="http://schemas.openxmlformats.org/officeDocument/2006/relationships/tags" Target="../tags/tag516.xml"/><Relationship Id="rId1" Type="http://schemas.openxmlformats.org/officeDocument/2006/relationships/vmlDrawing" Target="../drawings/vmlDrawing293.vml"/><Relationship Id="rId6" Type="http://schemas.openxmlformats.org/officeDocument/2006/relationships/image" Target="../media/image7.emf"/><Relationship Id="rId5" Type="http://schemas.openxmlformats.org/officeDocument/2006/relationships/oleObject" Target="../embeddings/oleObject246.bin"/><Relationship Id="rId4" Type="http://schemas.openxmlformats.org/officeDocument/2006/relationships/slideMaster" Target="../slideMasters/slideMaster19.xml"/></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519.xml"/><Relationship Id="rId7" Type="http://schemas.openxmlformats.org/officeDocument/2006/relationships/image" Target="../media/image7.emf"/><Relationship Id="rId2" Type="http://schemas.openxmlformats.org/officeDocument/2006/relationships/tags" Target="../tags/tag518.xml"/><Relationship Id="rId1" Type="http://schemas.openxmlformats.org/officeDocument/2006/relationships/vmlDrawing" Target="../drawings/vmlDrawing294.vml"/><Relationship Id="rId6" Type="http://schemas.openxmlformats.org/officeDocument/2006/relationships/oleObject" Target="../embeddings/oleObject247.bin"/><Relationship Id="rId5" Type="http://schemas.openxmlformats.org/officeDocument/2006/relationships/image" Target="../media/image17.jpeg"/><Relationship Id="rId4"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3" Type="http://schemas.openxmlformats.org/officeDocument/2006/relationships/tags" Target="../tags/tag521.xml"/><Relationship Id="rId2" Type="http://schemas.openxmlformats.org/officeDocument/2006/relationships/tags" Target="../tags/tag520.xml"/><Relationship Id="rId1" Type="http://schemas.openxmlformats.org/officeDocument/2006/relationships/vmlDrawing" Target="../drawings/vmlDrawing295.vml"/><Relationship Id="rId6" Type="http://schemas.openxmlformats.org/officeDocument/2006/relationships/image" Target="../media/image7.emf"/><Relationship Id="rId5" Type="http://schemas.openxmlformats.org/officeDocument/2006/relationships/oleObject" Target="../embeddings/oleObject248.bin"/><Relationship Id="rId4" Type="http://schemas.openxmlformats.org/officeDocument/2006/relationships/slideMaster" Target="../slideMasters/slideMaster19.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7.emf"/><Relationship Id="rId2" Type="http://schemas.openxmlformats.org/officeDocument/2006/relationships/tags" Target="../tags/tag55.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image" Target="../media/image12.jpe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0.xml"/><Relationship Id="rId7" Type="http://schemas.openxmlformats.org/officeDocument/2006/relationships/image" Target="../media/image3.jpeg"/><Relationship Id="rId2" Type="http://schemas.openxmlformats.org/officeDocument/2006/relationships/tags" Target="../tags/tag59.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2.xml"/><Relationship Id="rId7" Type="http://schemas.openxmlformats.org/officeDocument/2006/relationships/image" Target="../media/image5.png"/><Relationship Id="rId2" Type="http://schemas.openxmlformats.org/officeDocument/2006/relationships/tags" Target="../tags/tag61.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7.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7.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7.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image" Target="../media/image7.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7.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image" Target="../media/image7.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0.vml"/><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1.vml"/><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vmlDrawing" Target="../drawings/vmlDrawing42.vml"/><Relationship Id="rId1" Type="http://schemas.openxmlformats.org/officeDocument/2006/relationships/themeOverride" Target="../theme/themeOverride15.xml"/><Relationship Id="rId6" Type="http://schemas.openxmlformats.org/officeDocument/2006/relationships/image" Target="../media/image7.emf"/><Relationship Id="rId5" Type="http://schemas.openxmlformats.org/officeDocument/2006/relationships/oleObject" Target="../embeddings/oleObject42.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43.vml"/><Relationship Id="rId6" Type="http://schemas.openxmlformats.org/officeDocument/2006/relationships/image" Target="../media/image7.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0.xml"/><Relationship Id="rId7" Type="http://schemas.openxmlformats.org/officeDocument/2006/relationships/image" Target="../media/image7.emf"/><Relationship Id="rId2" Type="http://schemas.openxmlformats.org/officeDocument/2006/relationships/vmlDrawing" Target="../drawings/vmlDrawing44.vml"/><Relationship Id="rId1" Type="http://schemas.openxmlformats.org/officeDocument/2006/relationships/themeOverride" Target="../theme/themeOverride16.xml"/><Relationship Id="rId6" Type="http://schemas.openxmlformats.org/officeDocument/2006/relationships/oleObject" Target="../embeddings/oleObject44.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2.xml"/><Relationship Id="rId7" Type="http://schemas.openxmlformats.org/officeDocument/2006/relationships/image" Target="../media/image7.emf"/><Relationship Id="rId2" Type="http://schemas.openxmlformats.org/officeDocument/2006/relationships/vmlDrawing" Target="../drawings/vmlDrawing45.vml"/><Relationship Id="rId1" Type="http://schemas.openxmlformats.org/officeDocument/2006/relationships/themeOverride" Target="../theme/themeOverride17.xml"/><Relationship Id="rId6" Type="http://schemas.openxmlformats.org/officeDocument/2006/relationships/oleObject" Target="../embeddings/oleObject45.bin"/><Relationship Id="rId5" Type="http://schemas.openxmlformats.org/officeDocument/2006/relationships/slideMaster" Target="../slideMasters/slideMaster2.xml"/><Relationship Id="rId4" Type="http://schemas.openxmlformats.org/officeDocument/2006/relationships/tags" Target="../tags/tag83.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4.xml"/><Relationship Id="rId7" Type="http://schemas.openxmlformats.org/officeDocument/2006/relationships/image" Target="../media/image7.emf"/><Relationship Id="rId2" Type="http://schemas.openxmlformats.org/officeDocument/2006/relationships/vmlDrawing" Target="../drawings/vmlDrawing46.vml"/><Relationship Id="rId1" Type="http://schemas.openxmlformats.org/officeDocument/2006/relationships/themeOverride" Target="../theme/themeOverride18.xml"/><Relationship Id="rId6" Type="http://schemas.openxmlformats.org/officeDocument/2006/relationships/oleObject" Target="../embeddings/oleObject46.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6.xml"/><Relationship Id="rId7" Type="http://schemas.openxmlformats.org/officeDocument/2006/relationships/image" Target="../media/image7.emf"/><Relationship Id="rId2" Type="http://schemas.openxmlformats.org/officeDocument/2006/relationships/vmlDrawing" Target="../drawings/vmlDrawing47.vml"/><Relationship Id="rId1" Type="http://schemas.openxmlformats.org/officeDocument/2006/relationships/themeOverride" Target="../theme/themeOverride19.xml"/><Relationship Id="rId6" Type="http://schemas.openxmlformats.org/officeDocument/2006/relationships/oleObject" Target="../embeddings/oleObject47.bin"/><Relationship Id="rId5" Type="http://schemas.openxmlformats.org/officeDocument/2006/relationships/slideMaster" Target="../slideMasters/slideMaster2.xml"/><Relationship Id="rId4" Type="http://schemas.openxmlformats.org/officeDocument/2006/relationships/tags" Target="../tags/tag87.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8.xml"/><Relationship Id="rId7" Type="http://schemas.openxmlformats.org/officeDocument/2006/relationships/image" Target="../media/image7.emf"/><Relationship Id="rId2" Type="http://schemas.openxmlformats.org/officeDocument/2006/relationships/vmlDrawing" Target="../drawings/vmlDrawing48.vml"/><Relationship Id="rId1" Type="http://schemas.openxmlformats.org/officeDocument/2006/relationships/themeOverride" Target="../theme/themeOverride20.xml"/><Relationship Id="rId6" Type="http://schemas.openxmlformats.org/officeDocument/2006/relationships/oleObject" Target="../embeddings/oleObject48.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0.xml"/><Relationship Id="rId7" Type="http://schemas.openxmlformats.org/officeDocument/2006/relationships/image" Target="../media/image7.emf"/><Relationship Id="rId2" Type="http://schemas.openxmlformats.org/officeDocument/2006/relationships/vmlDrawing" Target="../drawings/vmlDrawing49.vml"/><Relationship Id="rId1" Type="http://schemas.openxmlformats.org/officeDocument/2006/relationships/themeOverride" Target="../theme/themeOverride21.xml"/><Relationship Id="rId6" Type="http://schemas.openxmlformats.org/officeDocument/2006/relationships/oleObject" Target="../embeddings/oleObject49.bin"/><Relationship Id="rId5" Type="http://schemas.openxmlformats.org/officeDocument/2006/relationships/slideMaster" Target="../slideMasters/slideMaster2.xml"/><Relationship Id="rId4" Type="http://schemas.openxmlformats.org/officeDocument/2006/relationships/tags" Target="../tags/tag9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2.xml"/><Relationship Id="rId7" Type="http://schemas.openxmlformats.org/officeDocument/2006/relationships/image" Target="../media/image7.emf"/><Relationship Id="rId2" Type="http://schemas.openxmlformats.org/officeDocument/2006/relationships/vmlDrawing" Target="../drawings/vmlDrawing50.vml"/><Relationship Id="rId1" Type="http://schemas.openxmlformats.org/officeDocument/2006/relationships/themeOverride" Target="../theme/themeOverride22.xml"/><Relationship Id="rId6" Type="http://schemas.openxmlformats.org/officeDocument/2006/relationships/oleObject" Target="../embeddings/oleObject50.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4.xml"/><Relationship Id="rId7" Type="http://schemas.openxmlformats.org/officeDocument/2006/relationships/image" Target="../media/image7.emf"/><Relationship Id="rId2" Type="http://schemas.openxmlformats.org/officeDocument/2006/relationships/vmlDrawing" Target="../drawings/vmlDrawing51.vml"/><Relationship Id="rId1" Type="http://schemas.openxmlformats.org/officeDocument/2006/relationships/themeOverride" Target="../theme/themeOverride23.xml"/><Relationship Id="rId6" Type="http://schemas.openxmlformats.org/officeDocument/2006/relationships/oleObject" Target="../embeddings/oleObject51.bin"/><Relationship Id="rId5" Type="http://schemas.openxmlformats.org/officeDocument/2006/relationships/slideMaster" Target="../slideMasters/slideMaster2.xml"/><Relationship Id="rId4" Type="http://schemas.openxmlformats.org/officeDocument/2006/relationships/tags" Target="../tags/tag95.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6.xml"/><Relationship Id="rId7" Type="http://schemas.openxmlformats.org/officeDocument/2006/relationships/image" Target="../media/image7.emf"/><Relationship Id="rId2" Type="http://schemas.openxmlformats.org/officeDocument/2006/relationships/vmlDrawing" Target="../drawings/vmlDrawing52.vml"/><Relationship Id="rId1" Type="http://schemas.openxmlformats.org/officeDocument/2006/relationships/themeOverride" Target="../theme/themeOverride24.xml"/><Relationship Id="rId6" Type="http://schemas.openxmlformats.org/officeDocument/2006/relationships/oleObject" Target="../embeddings/oleObject52.bin"/><Relationship Id="rId5" Type="http://schemas.openxmlformats.org/officeDocument/2006/relationships/slideMaster" Target="../slideMasters/slideMaster2.xml"/><Relationship Id="rId4" Type="http://schemas.openxmlformats.org/officeDocument/2006/relationships/tags" Target="../tags/tag97.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0.png"/><Relationship Id="rId2" Type="http://schemas.openxmlformats.org/officeDocument/2006/relationships/tags" Target="../tags/tag98.xml"/><Relationship Id="rId1" Type="http://schemas.openxmlformats.org/officeDocument/2006/relationships/vmlDrawing" Target="../drawings/vmlDrawing53.vml"/><Relationship Id="rId6" Type="http://schemas.openxmlformats.org/officeDocument/2006/relationships/image" Target="../media/image7.emf"/><Relationship Id="rId5" Type="http://schemas.openxmlformats.org/officeDocument/2006/relationships/oleObject" Target="../embeddings/oleObject53.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00.xml"/><Relationship Id="rId7" Type="http://schemas.openxmlformats.org/officeDocument/2006/relationships/image" Target="../media/image7.emf"/><Relationship Id="rId2" Type="http://schemas.openxmlformats.org/officeDocument/2006/relationships/vmlDrawing" Target="../drawings/vmlDrawing54.vml"/><Relationship Id="rId1" Type="http://schemas.openxmlformats.org/officeDocument/2006/relationships/themeOverride" Target="../theme/themeOverride25.xml"/><Relationship Id="rId6" Type="http://schemas.openxmlformats.org/officeDocument/2006/relationships/oleObject" Target="../embeddings/oleObject54.bin"/><Relationship Id="rId5" Type="http://schemas.openxmlformats.org/officeDocument/2006/relationships/slideMaster" Target="../slideMasters/slideMaster2.xml"/><Relationship Id="rId4" Type="http://schemas.openxmlformats.org/officeDocument/2006/relationships/tags" Target="../tags/tag101.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02.xml"/><Relationship Id="rId7" Type="http://schemas.openxmlformats.org/officeDocument/2006/relationships/image" Target="../media/image7.emf"/><Relationship Id="rId2" Type="http://schemas.openxmlformats.org/officeDocument/2006/relationships/vmlDrawing" Target="../drawings/vmlDrawing55.vml"/><Relationship Id="rId1" Type="http://schemas.openxmlformats.org/officeDocument/2006/relationships/themeOverride" Target="../theme/themeOverride26.xml"/><Relationship Id="rId6" Type="http://schemas.openxmlformats.org/officeDocument/2006/relationships/oleObject" Target="../embeddings/oleObject55.bin"/><Relationship Id="rId5" Type="http://schemas.openxmlformats.org/officeDocument/2006/relationships/slideMaster" Target="../slideMasters/slideMaster2.xml"/><Relationship Id="rId4" Type="http://schemas.openxmlformats.org/officeDocument/2006/relationships/tags" Target="../tags/tag10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7.emf"/><Relationship Id="rId2" Type="http://schemas.openxmlformats.org/officeDocument/2006/relationships/vmlDrawing" Target="../drawings/vmlDrawing56.vml"/><Relationship Id="rId1" Type="http://schemas.openxmlformats.org/officeDocument/2006/relationships/themeOverride" Target="../theme/themeOverride27.xml"/><Relationship Id="rId6" Type="http://schemas.openxmlformats.org/officeDocument/2006/relationships/oleObject" Target="../embeddings/oleObject56.bin"/><Relationship Id="rId5" Type="http://schemas.openxmlformats.org/officeDocument/2006/relationships/slideMaster" Target="../slideMasters/slideMaster2.xml"/><Relationship Id="rId4" Type="http://schemas.openxmlformats.org/officeDocument/2006/relationships/tags" Target="../tags/tag105.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7.vml"/><Relationship Id="rId6" Type="http://schemas.openxmlformats.org/officeDocument/2006/relationships/image" Target="../media/image7.emf"/><Relationship Id="rId5" Type="http://schemas.openxmlformats.org/officeDocument/2006/relationships/oleObject" Target="../embeddings/oleObject57.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9.png"/><Relationship Id="rId2" Type="http://schemas.openxmlformats.org/officeDocument/2006/relationships/vmlDrawing" Target="../drawings/vmlDrawing58.vml"/><Relationship Id="rId1" Type="http://schemas.openxmlformats.org/officeDocument/2006/relationships/themeOverride" Target="../theme/themeOverride28.xml"/><Relationship Id="rId6" Type="http://schemas.openxmlformats.org/officeDocument/2006/relationships/image" Target="../media/image11.emf"/><Relationship Id="rId5" Type="http://schemas.openxmlformats.org/officeDocument/2006/relationships/oleObject" Target="../embeddings/oleObject58.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jpeg"/><Relationship Id="rId2" Type="http://schemas.openxmlformats.org/officeDocument/2006/relationships/tags" Target="../tags/tag109.xml"/><Relationship Id="rId1" Type="http://schemas.openxmlformats.org/officeDocument/2006/relationships/vmlDrawing" Target="../drawings/vmlDrawing59.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7.emf"/><Relationship Id="rId2" Type="http://schemas.openxmlformats.org/officeDocument/2006/relationships/tags" Target="../tags/tag110.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jpeg"/><Relationship Id="rId2" Type="http://schemas.openxmlformats.org/officeDocument/2006/relationships/tags" Target="../tags/tag112.xml"/><Relationship Id="rId1" Type="http://schemas.openxmlformats.org/officeDocument/2006/relationships/vmlDrawing" Target="../drawings/vmlDrawing61.v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61.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62.vml"/><Relationship Id="rId6" Type="http://schemas.openxmlformats.org/officeDocument/2006/relationships/image" Target="../media/image7.emf"/><Relationship Id="rId5" Type="http://schemas.openxmlformats.org/officeDocument/2006/relationships/oleObject" Target="../embeddings/oleObject62.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118.xml"/><Relationship Id="rId7" Type="http://schemas.openxmlformats.org/officeDocument/2006/relationships/image" Target="../media/image5.png"/><Relationship Id="rId2" Type="http://schemas.openxmlformats.org/officeDocument/2006/relationships/tags" Target="../tags/tag117.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vmlDrawing" Target="../drawings/vmlDrawing65.vml"/><Relationship Id="rId1" Type="http://schemas.openxmlformats.org/officeDocument/2006/relationships/themeOverride" Target="../theme/themeOverride29.xml"/><Relationship Id="rId6" Type="http://schemas.openxmlformats.org/officeDocument/2006/relationships/image" Target="../media/image7.emf"/><Relationship Id="rId5" Type="http://schemas.openxmlformats.org/officeDocument/2006/relationships/oleObject" Target="../embeddings/oleObject65.bin"/><Relationship Id="rId4"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jpeg"/><Relationship Id="rId2" Type="http://schemas.openxmlformats.org/officeDocument/2006/relationships/tags" Target="../tags/tag120.xml"/><Relationship Id="rId1" Type="http://schemas.openxmlformats.org/officeDocument/2006/relationships/vmlDrawing" Target="../drawings/vmlDrawing66.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67.vml"/><Relationship Id="rId6" Type="http://schemas.openxmlformats.org/officeDocument/2006/relationships/image" Target="../media/image7.emf"/><Relationship Id="rId5" Type="http://schemas.openxmlformats.org/officeDocument/2006/relationships/oleObject" Target="../embeddings/oleObject67.bin"/><Relationship Id="rId4"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68.vml"/><Relationship Id="rId6" Type="http://schemas.openxmlformats.org/officeDocument/2006/relationships/image" Target="../media/image7.emf"/><Relationship Id="rId5" Type="http://schemas.openxmlformats.org/officeDocument/2006/relationships/oleObject" Target="../embeddings/oleObject68.bin"/><Relationship Id="rId4"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vmlDrawing" Target="../drawings/vmlDrawing69.vml"/><Relationship Id="rId1" Type="http://schemas.openxmlformats.org/officeDocument/2006/relationships/themeOverride" Target="../theme/themeOverride30.xml"/><Relationship Id="rId6" Type="http://schemas.openxmlformats.org/officeDocument/2006/relationships/image" Target="../media/image7.emf"/><Relationship Id="rId5" Type="http://schemas.openxmlformats.org/officeDocument/2006/relationships/oleObject" Target="../embeddings/oleObject69.bin"/><Relationship Id="rId4"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70.vml"/><Relationship Id="rId6" Type="http://schemas.openxmlformats.org/officeDocument/2006/relationships/image" Target="../media/image7.emf"/><Relationship Id="rId5" Type="http://schemas.openxmlformats.org/officeDocument/2006/relationships/oleObject" Target="../embeddings/oleObject70.bin"/><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7.emf"/><Relationship Id="rId2" Type="http://schemas.openxmlformats.org/officeDocument/2006/relationships/tags" Target="../tags/tag128.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image" Target="../media/image17.jpeg"/><Relationship Id="rId4"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72.vml"/><Relationship Id="rId6" Type="http://schemas.openxmlformats.org/officeDocument/2006/relationships/image" Target="../media/image7.emf"/><Relationship Id="rId5" Type="http://schemas.openxmlformats.org/officeDocument/2006/relationships/oleObject" Target="../embeddings/oleObject72.bin"/><Relationship Id="rId4"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5.xml"/><Relationship Id="rId7" Type="http://schemas.openxmlformats.org/officeDocument/2006/relationships/image" Target="../media/image3.jpeg"/><Relationship Id="rId2" Type="http://schemas.openxmlformats.org/officeDocument/2006/relationships/tags" Target="../tags/tag13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37.xml"/><Relationship Id="rId7" Type="http://schemas.openxmlformats.org/officeDocument/2006/relationships/image" Target="../media/image5.png"/><Relationship Id="rId2" Type="http://schemas.openxmlformats.org/officeDocument/2006/relationships/tags" Target="../tags/tag136.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76.vml"/><Relationship Id="rId6" Type="http://schemas.openxmlformats.org/officeDocument/2006/relationships/image" Target="../media/image7.emf"/><Relationship Id="rId5" Type="http://schemas.openxmlformats.org/officeDocument/2006/relationships/oleObject" Target="../embeddings/oleObject76.bin"/><Relationship Id="rId4"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77.vml"/><Relationship Id="rId6" Type="http://schemas.openxmlformats.org/officeDocument/2006/relationships/image" Target="../media/image7.emf"/><Relationship Id="rId5" Type="http://schemas.openxmlformats.org/officeDocument/2006/relationships/oleObject" Target="../embeddings/oleObject77.bin"/><Relationship Id="rId4"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78.vml"/><Relationship Id="rId6" Type="http://schemas.openxmlformats.org/officeDocument/2006/relationships/image" Target="../media/image7.emf"/><Relationship Id="rId5" Type="http://schemas.openxmlformats.org/officeDocument/2006/relationships/oleObject" Target="../embeddings/oleObject78.bin"/><Relationship Id="rId4"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79.vml"/><Relationship Id="rId6" Type="http://schemas.openxmlformats.org/officeDocument/2006/relationships/image" Target="../media/image7.emf"/><Relationship Id="rId5" Type="http://schemas.openxmlformats.org/officeDocument/2006/relationships/oleObject" Target="../embeddings/oleObject79.bin"/><Relationship Id="rId4"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80.vml"/><Relationship Id="rId6" Type="http://schemas.openxmlformats.org/officeDocument/2006/relationships/image" Target="../media/image7.emf"/><Relationship Id="rId5" Type="http://schemas.openxmlformats.org/officeDocument/2006/relationships/oleObject" Target="../embeddings/oleObject80.bin"/><Relationship Id="rId4"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81.vml"/><Relationship Id="rId6" Type="http://schemas.openxmlformats.org/officeDocument/2006/relationships/image" Target="../media/image7.emf"/><Relationship Id="rId5" Type="http://schemas.openxmlformats.org/officeDocument/2006/relationships/oleObject" Target="../embeddings/oleObject81.bin"/><Relationship Id="rId4"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vmlDrawing" Target="../drawings/vmlDrawing82.vml"/><Relationship Id="rId5" Type="http://schemas.openxmlformats.org/officeDocument/2006/relationships/image" Target="../media/image7.emf"/><Relationship Id="rId4" Type="http://schemas.openxmlformats.org/officeDocument/2006/relationships/oleObject" Target="../embeddings/oleObject82.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1.xml"/><Relationship Id="rId1" Type="http://schemas.openxmlformats.org/officeDocument/2006/relationships/vmlDrawing" Target="../drawings/vmlDrawing83.vml"/><Relationship Id="rId6" Type="http://schemas.openxmlformats.org/officeDocument/2006/relationships/image" Target="../media/image7.emf"/><Relationship Id="rId5" Type="http://schemas.openxmlformats.org/officeDocument/2006/relationships/oleObject" Target="../embeddings/oleObject83.bin"/><Relationship Id="rId4" Type="http://schemas.openxmlformats.org/officeDocument/2006/relationships/image" Target="../media/image18.jpeg"/></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vmlDrawing" Target="../drawings/vmlDrawing84.vml"/><Relationship Id="rId1" Type="http://schemas.openxmlformats.org/officeDocument/2006/relationships/themeOverride" Target="../theme/themeOverride31.xml"/><Relationship Id="rId6" Type="http://schemas.openxmlformats.org/officeDocument/2006/relationships/image" Target="../media/image7.emf"/><Relationship Id="rId5" Type="http://schemas.openxmlformats.org/officeDocument/2006/relationships/oleObject" Target="../embeddings/oleObject84.bin"/><Relationship Id="rId4"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vmlDrawing" Target="../drawings/vmlDrawing85.vml"/><Relationship Id="rId6" Type="http://schemas.openxmlformats.org/officeDocument/2006/relationships/image" Target="../media/image7.emf"/><Relationship Id="rId5" Type="http://schemas.openxmlformats.org/officeDocument/2006/relationships/oleObject" Target="../embeddings/oleObject85.bin"/><Relationship Id="rId4"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55.xml"/><Relationship Id="rId7" Type="http://schemas.openxmlformats.org/officeDocument/2006/relationships/image" Target="../media/image7.emf"/><Relationship Id="rId2" Type="http://schemas.openxmlformats.org/officeDocument/2006/relationships/vmlDrawing" Target="../drawings/vmlDrawing86.vml"/><Relationship Id="rId1" Type="http://schemas.openxmlformats.org/officeDocument/2006/relationships/themeOverride" Target="../theme/themeOverride32.xml"/><Relationship Id="rId6" Type="http://schemas.openxmlformats.org/officeDocument/2006/relationships/oleObject" Target="../embeddings/oleObject86.bin"/><Relationship Id="rId5" Type="http://schemas.openxmlformats.org/officeDocument/2006/relationships/slideMaster" Target="../slideMasters/slideMaster4.xml"/><Relationship Id="rId4" Type="http://schemas.openxmlformats.org/officeDocument/2006/relationships/tags" Target="../tags/tag156.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57.xml"/><Relationship Id="rId7" Type="http://schemas.openxmlformats.org/officeDocument/2006/relationships/image" Target="../media/image7.emf"/><Relationship Id="rId2" Type="http://schemas.openxmlformats.org/officeDocument/2006/relationships/vmlDrawing" Target="../drawings/vmlDrawing87.vml"/><Relationship Id="rId1" Type="http://schemas.openxmlformats.org/officeDocument/2006/relationships/themeOverride" Target="../theme/themeOverride33.xml"/><Relationship Id="rId6" Type="http://schemas.openxmlformats.org/officeDocument/2006/relationships/oleObject" Target="../embeddings/oleObject87.bin"/><Relationship Id="rId5" Type="http://schemas.openxmlformats.org/officeDocument/2006/relationships/slideMaster" Target="../slideMasters/slideMaster4.xml"/><Relationship Id="rId4" Type="http://schemas.openxmlformats.org/officeDocument/2006/relationships/tags" Target="../tags/tag158.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59.xml"/><Relationship Id="rId7" Type="http://schemas.openxmlformats.org/officeDocument/2006/relationships/image" Target="../media/image7.emf"/><Relationship Id="rId2" Type="http://schemas.openxmlformats.org/officeDocument/2006/relationships/vmlDrawing" Target="../drawings/vmlDrawing88.vml"/><Relationship Id="rId1" Type="http://schemas.openxmlformats.org/officeDocument/2006/relationships/themeOverride" Target="../theme/themeOverride34.xml"/><Relationship Id="rId6" Type="http://schemas.openxmlformats.org/officeDocument/2006/relationships/oleObject" Target="../embeddings/oleObject88.bin"/><Relationship Id="rId5" Type="http://schemas.openxmlformats.org/officeDocument/2006/relationships/slideMaster" Target="../slideMasters/slideMaster4.xml"/><Relationship Id="rId4" Type="http://schemas.openxmlformats.org/officeDocument/2006/relationships/tags" Target="../tags/tag160.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1.xml"/><Relationship Id="rId7" Type="http://schemas.openxmlformats.org/officeDocument/2006/relationships/image" Target="../media/image7.emf"/><Relationship Id="rId2" Type="http://schemas.openxmlformats.org/officeDocument/2006/relationships/vmlDrawing" Target="../drawings/vmlDrawing89.vml"/><Relationship Id="rId1" Type="http://schemas.openxmlformats.org/officeDocument/2006/relationships/themeOverride" Target="../theme/themeOverride35.xml"/><Relationship Id="rId6" Type="http://schemas.openxmlformats.org/officeDocument/2006/relationships/oleObject" Target="../embeddings/oleObject89.bin"/><Relationship Id="rId5" Type="http://schemas.openxmlformats.org/officeDocument/2006/relationships/slideMaster" Target="../slideMasters/slideMaster4.xml"/><Relationship Id="rId4" Type="http://schemas.openxmlformats.org/officeDocument/2006/relationships/tags" Target="../tags/tag162.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3.xml"/><Relationship Id="rId7" Type="http://schemas.openxmlformats.org/officeDocument/2006/relationships/image" Target="../media/image7.emf"/><Relationship Id="rId2" Type="http://schemas.openxmlformats.org/officeDocument/2006/relationships/vmlDrawing" Target="../drawings/vmlDrawing90.vml"/><Relationship Id="rId1" Type="http://schemas.openxmlformats.org/officeDocument/2006/relationships/themeOverride" Target="../theme/themeOverride36.xml"/><Relationship Id="rId6" Type="http://schemas.openxmlformats.org/officeDocument/2006/relationships/oleObject" Target="../embeddings/oleObject90.bin"/><Relationship Id="rId5" Type="http://schemas.openxmlformats.org/officeDocument/2006/relationships/slideMaster" Target="../slideMasters/slideMaster4.xml"/><Relationship Id="rId4" Type="http://schemas.openxmlformats.org/officeDocument/2006/relationships/tags" Target="../tags/tag164.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5.xml"/><Relationship Id="rId7" Type="http://schemas.openxmlformats.org/officeDocument/2006/relationships/image" Target="../media/image7.emf"/><Relationship Id="rId2" Type="http://schemas.openxmlformats.org/officeDocument/2006/relationships/vmlDrawing" Target="../drawings/vmlDrawing91.vml"/><Relationship Id="rId1" Type="http://schemas.openxmlformats.org/officeDocument/2006/relationships/themeOverride" Target="../theme/themeOverride37.xml"/><Relationship Id="rId6" Type="http://schemas.openxmlformats.org/officeDocument/2006/relationships/oleObject" Target="../embeddings/oleObject91.bin"/><Relationship Id="rId5" Type="http://schemas.openxmlformats.org/officeDocument/2006/relationships/slideMaster" Target="../slideMasters/slideMaster4.xml"/><Relationship Id="rId4" Type="http://schemas.openxmlformats.org/officeDocument/2006/relationships/tags" Target="../tags/tag16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7.xml"/><Relationship Id="rId7" Type="http://schemas.openxmlformats.org/officeDocument/2006/relationships/image" Target="../media/image7.emf"/><Relationship Id="rId2" Type="http://schemas.openxmlformats.org/officeDocument/2006/relationships/vmlDrawing" Target="../drawings/vmlDrawing92.vml"/><Relationship Id="rId1" Type="http://schemas.openxmlformats.org/officeDocument/2006/relationships/themeOverride" Target="../theme/themeOverride38.xml"/><Relationship Id="rId6" Type="http://schemas.openxmlformats.org/officeDocument/2006/relationships/oleObject" Target="../embeddings/oleObject92.bin"/><Relationship Id="rId5" Type="http://schemas.openxmlformats.org/officeDocument/2006/relationships/slideMaster" Target="../slideMasters/slideMaster4.xml"/><Relationship Id="rId4" Type="http://schemas.openxmlformats.org/officeDocument/2006/relationships/tags" Target="../tags/tag168.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9.xml"/><Relationship Id="rId7" Type="http://schemas.openxmlformats.org/officeDocument/2006/relationships/image" Target="../media/image7.emf"/><Relationship Id="rId2" Type="http://schemas.openxmlformats.org/officeDocument/2006/relationships/vmlDrawing" Target="../drawings/vmlDrawing93.vml"/><Relationship Id="rId1" Type="http://schemas.openxmlformats.org/officeDocument/2006/relationships/themeOverride" Target="../theme/themeOverride39.xml"/><Relationship Id="rId6" Type="http://schemas.openxmlformats.org/officeDocument/2006/relationships/oleObject" Target="../embeddings/oleObject93.bin"/><Relationship Id="rId5" Type="http://schemas.openxmlformats.org/officeDocument/2006/relationships/slideMaster" Target="../slideMasters/slideMaster4.xml"/><Relationship Id="rId4" Type="http://schemas.openxmlformats.org/officeDocument/2006/relationships/tags" Target="../tags/tag170.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71.xml"/><Relationship Id="rId7" Type="http://schemas.openxmlformats.org/officeDocument/2006/relationships/image" Target="../media/image7.emf"/><Relationship Id="rId2" Type="http://schemas.openxmlformats.org/officeDocument/2006/relationships/vmlDrawing" Target="../drawings/vmlDrawing94.vml"/><Relationship Id="rId1" Type="http://schemas.openxmlformats.org/officeDocument/2006/relationships/themeOverride" Target="../theme/themeOverride40.xml"/><Relationship Id="rId6" Type="http://schemas.openxmlformats.org/officeDocument/2006/relationships/oleObject" Target="../embeddings/oleObject94.bin"/><Relationship Id="rId5" Type="http://schemas.openxmlformats.org/officeDocument/2006/relationships/slideMaster" Target="../slideMasters/slideMaster4.xml"/><Relationship Id="rId4" Type="http://schemas.openxmlformats.org/officeDocument/2006/relationships/tags" Target="../tags/tag172.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10.png"/><Relationship Id="rId2" Type="http://schemas.openxmlformats.org/officeDocument/2006/relationships/tags" Target="../tags/tag173.xml"/><Relationship Id="rId1" Type="http://schemas.openxmlformats.org/officeDocument/2006/relationships/vmlDrawing" Target="../drawings/vmlDrawing95.vml"/><Relationship Id="rId6" Type="http://schemas.openxmlformats.org/officeDocument/2006/relationships/image" Target="../media/image7.emf"/><Relationship Id="rId5" Type="http://schemas.openxmlformats.org/officeDocument/2006/relationships/oleObject" Target="../embeddings/oleObject95.bin"/><Relationship Id="rId4"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75.xml"/><Relationship Id="rId7" Type="http://schemas.openxmlformats.org/officeDocument/2006/relationships/image" Target="../media/image7.emf"/><Relationship Id="rId2" Type="http://schemas.openxmlformats.org/officeDocument/2006/relationships/vmlDrawing" Target="../drawings/vmlDrawing96.vml"/><Relationship Id="rId1" Type="http://schemas.openxmlformats.org/officeDocument/2006/relationships/themeOverride" Target="../theme/themeOverride41.xml"/><Relationship Id="rId6" Type="http://schemas.openxmlformats.org/officeDocument/2006/relationships/oleObject" Target="../embeddings/oleObject96.bin"/><Relationship Id="rId5" Type="http://schemas.openxmlformats.org/officeDocument/2006/relationships/slideMaster" Target="../slideMasters/slideMaster4.xml"/><Relationship Id="rId4" Type="http://schemas.openxmlformats.org/officeDocument/2006/relationships/tags" Target="../tags/tag176.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77.xml"/><Relationship Id="rId7" Type="http://schemas.openxmlformats.org/officeDocument/2006/relationships/image" Target="../media/image7.emf"/><Relationship Id="rId2" Type="http://schemas.openxmlformats.org/officeDocument/2006/relationships/vmlDrawing" Target="../drawings/vmlDrawing97.vml"/><Relationship Id="rId1" Type="http://schemas.openxmlformats.org/officeDocument/2006/relationships/themeOverride" Target="../theme/themeOverride42.xml"/><Relationship Id="rId6" Type="http://schemas.openxmlformats.org/officeDocument/2006/relationships/oleObject" Target="../embeddings/oleObject97.bin"/><Relationship Id="rId5" Type="http://schemas.openxmlformats.org/officeDocument/2006/relationships/slideMaster" Target="../slideMasters/slideMaster4.xml"/><Relationship Id="rId4" Type="http://schemas.openxmlformats.org/officeDocument/2006/relationships/tags" Target="../tags/tag178.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7.emf"/><Relationship Id="rId2" Type="http://schemas.openxmlformats.org/officeDocument/2006/relationships/vmlDrawing" Target="../drawings/vmlDrawing98.vml"/><Relationship Id="rId1" Type="http://schemas.openxmlformats.org/officeDocument/2006/relationships/themeOverride" Target="../theme/themeOverride43.xml"/><Relationship Id="rId6" Type="http://schemas.openxmlformats.org/officeDocument/2006/relationships/oleObject" Target="../embeddings/oleObject98.bin"/><Relationship Id="rId5" Type="http://schemas.openxmlformats.org/officeDocument/2006/relationships/slideMaster" Target="../slideMasters/slideMaster4.xml"/><Relationship Id="rId4" Type="http://schemas.openxmlformats.org/officeDocument/2006/relationships/tags" Target="../tags/tag18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vmlDrawing" Target="../drawings/vmlDrawing99.vml"/><Relationship Id="rId6" Type="http://schemas.openxmlformats.org/officeDocument/2006/relationships/image" Target="../media/image7.emf"/><Relationship Id="rId5" Type="http://schemas.openxmlformats.org/officeDocument/2006/relationships/oleObject" Target="../embeddings/oleObject99.bin"/><Relationship Id="rId4"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9.png"/><Relationship Id="rId2" Type="http://schemas.openxmlformats.org/officeDocument/2006/relationships/vmlDrawing" Target="../drawings/vmlDrawing100.vml"/><Relationship Id="rId1" Type="http://schemas.openxmlformats.org/officeDocument/2006/relationships/themeOverride" Target="../theme/themeOverride44.xml"/><Relationship Id="rId6" Type="http://schemas.openxmlformats.org/officeDocument/2006/relationships/image" Target="../media/image11.emf"/><Relationship Id="rId5" Type="http://schemas.openxmlformats.org/officeDocument/2006/relationships/oleObject" Target="../embeddings/oleObject100.bin"/><Relationship Id="rId4"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jpeg"/><Relationship Id="rId2" Type="http://schemas.openxmlformats.org/officeDocument/2006/relationships/tags" Target="../tags/tag184.xml"/><Relationship Id="rId1" Type="http://schemas.openxmlformats.org/officeDocument/2006/relationships/vmlDrawing" Target="../drawings/vmlDrawing101.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0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9823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8" name="Picture 17">
            <a:extLst>
              <a:ext uri="{FF2B5EF4-FFF2-40B4-BE49-F238E27FC236}">
                <a16:creationId xmlns:a16="http://schemas.microsoft.com/office/drawing/2014/main" id="{DFDDE4B7-1CAB-C84F-90FD-9F68D636888D}"/>
              </a:ext>
            </a:extLst>
          </p:cNvPr>
          <p:cNvPicPr>
            <a:picLocks noChangeAspect="1"/>
          </p:cNvPicPr>
          <p:nvPr userDrawn="1"/>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9338" y="538582"/>
            <a:ext cx="2207259" cy="825698"/>
          </a:xfrm>
          <a:prstGeom prst="rect">
            <a:avLst/>
          </a:prstGeom>
        </p:spPr>
      </p:pic>
      <p:sp>
        <p:nvSpPr>
          <p:cNvPr id="16" name="Title 1">
            <a:extLst>
              <a:ext uri="{FF2B5EF4-FFF2-40B4-BE49-F238E27FC236}">
                <a16:creationId xmlns:a16="http://schemas.microsoft.com/office/drawing/2014/main" id="{118B6C8E-8090-4E6B-AB72-A7933543EF90}"/>
              </a:ext>
            </a:extLst>
          </p:cNvPr>
          <p:cNvSpPr>
            <a:spLocks noGrp="1"/>
          </p:cNvSpPr>
          <p:nvPr>
            <p:ph type="ctrTitle" hasCustomPrompt="1"/>
          </p:nvPr>
        </p:nvSpPr>
        <p:spPr>
          <a:xfrm>
            <a:off x="695325" y="1715590"/>
            <a:ext cx="5400675" cy="1994624"/>
          </a:xfrm>
        </p:spPr>
        <p:txBody>
          <a:bodyPr lIns="0" tIns="0" rIns="0" bIns="0" anchor="b">
            <a:noAutofit/>
          </a:bodyPr>
          <a:lstStyle>
            <a:lvl1pPr algn="l">
              <a:defRPr sz="4400">
                <a:solidFill>
                  <a:schemeClr val="tx2"/>
                </a:solidFill>
                <a:latin typeface="+mj-lt"/>
                <a:ea typeface="+mj-ea"/>
                <a:cs typeface="+mj-cs"/>
                <a:sym typeface="+mj-lt"/>
              </a:defRPr>
            </a:lvl1pPr>
          </a:lstStyle>
          <a:p>
            <a:r>
              <a:rPr lang="en-US"/>
              <a:t>Presentation title goes here</a:t>
            </a:r>
            <a:endParaRPr lang="ar-SA"/>
          </a:p>
        </p:txBody>
      </p:sp>
      <p:sp>
        <p:nvSpPr>
          <p:cNvPr id="17" name="Subtitle 2">
            <a:extLst>
              <a:ext uri="{FF2B5EF4-FFF2-40B4-BE49-F238E27FC236}">
                <a16:creationId xmlns:a16="http://schemas.microsoft.com/office/drawing/2014/main" id="{4D5EE6E8-A3DF-421A-AFA2-A19B30A699D8}"/>
              </a:ext>
            </a:extLst>
          </p:cNvPr>
          <p:cNvSpPr>
            <a:spLocks noGrp="1"/>
          </p:cNvSpPr>
          <p:nvPr>
            <p:ph type="subTitle" idx="1" hasCustomPrompt="1"/>
          </p:nvPr>
        </p:nvSpPr>
        <p:spPr>
          <a:xfrm>
            <a:off x="695325" y="3878566"/>
            <a:ext cx="5400676" cy="863751"/>
          </a:xfrm>
        </p:spPr>
        <p:txBody>
          <a:bodyPr lIns="0" tIns="0" rIns="0" bIns="0">
            <a:noAutofit/>
          </a:bodyPr>
          <a:lstStyle>
            <a:lvl1pPr marL="0" indent="0" algn="l">
              <a:buNone/>
              <a:defRPr sz="2400">
                <a:solidFill>
                  <a:schemeClr val="tx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9" name="Text Placeholder 4">
            <a:extLst>
              <a:ext uri="{FF2B5EF4-FFF2-40B4-BE49-F238E27FC236}">
                <a16:creationId xmlns:a16="http://schemas.microsoft.com/office/drawing/2014/main" id="{9D229DDF-28A8-4374-8833-6BC778351496}"/>
              </a:ext>
            </a:extLst>
          </p:cNvPr>
          <p:cNvSpPr>
            <a:spLocks noGrp="1"/>
          </p:cNvSpPr>
          <p:nvPr>
            <p:ph type="body" sz="quarter" idx="13" hasCustomPrompt="1"/>
          </p:nvPr>
        </p:nvSpPr>
        <p:spPr>
          <a:xfrm>
            <a:off x="695325" y="5024348"/>
            <a:ext cx="5400675" cy="365125"/>
          </a:xfrm>
        </p:spPr>
        <p:txBody>
          <a:bodyPr/>
          <a:lstStyle>
            <a:lvl1pPr>
              <a:defRPr sz="1800"/>
            </a:lvl1pPr>
          </a:lstStyle>
          <a:p>
            <a:pPr lvl="0"/>
            <a:r>
              <a:rPr lang="en-US"/>
              <a:t>Date</a:t>
            </a:r>
          </a:p>
        </p:txBody>
      </p:sp>
      <p:pic>
        <p:nvPicPr>
          <p:cNvPr id="21" name="Picture 20">
            <a:extLst>
              <a:ext uri="{FF2B5EF4-FFF2-40B4-BE49-F238E27FC236}">
                <a16:creationId xmlns:a16="http://schemas.microsoft.com/office/drawing/2014/main" id="{76637089-851E-4A1D-BAAE-7C5AA19730E6}"/>
              </a:ext>
            </a:extLst>
          </p:cNvPr>
          <p:cNvPicPr>
            <a:picLocks noChangeAspect="1"/>
          </p:cNvPicPr>
          <p:nvPr userDrawn="1"/>
        </p:nvPicPr>
        <p:blipFill>
          <a:blip r:embed="rId8" cstate="email">
            <a:extLst>
              <a:ext uri="{28A0092B-C50C-407E-A947-70E740481C1C}">
                <a14:useLocalDpi xmlns:a14="http://schemas.microsoft.com/office/drawing/2010/main"/>
              </a:ext>
            </a:extLst>
          </a:blip>
          <a:srcRect/>
          <a:stretch/>
        </p:blipFill>
        <p:spPr>
          <a:xfrm>
            <a:off x="6869441" y="1539551"/>
            <a:ext cx="3869460" cy="3778898"/>
          </a:xfrm>
          <a:prstGeom prst="rect">
            <a:avLst/>
          </a:prstGeom>
        </p:spPr>
      </p:pic>
    </p:spTree>
    <p:extLst>
      <p:ext uri="{BB962C8B-B14F-4D97-AF65-F5344CB8AC3E}">
        <p14:creationId xmlns:p14="http://schemas.microsoft.com/office/powerpoint/2010/main" val="3001534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7042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9" name="Date Placeholder 2"/>
          <p:cNvSpPr>
            <a:spLocks noGrp="1"/>
          </p:cNvSpPr>
          <p:nvPr>
            <p:ph type="dt" sz="half" idx="10"/>
          </p:nvPr>
        </p:nvSpPr>
        <p:spPr>
          <a:xfrm>
            <a:off x="9677400" y="6461970"/>
            <a:ext cx="1482051" cy="153888"/>
          </a:xfrm>
          <a:prstGeom prst="rect">
            <a:avLst/>
          </a:prstGeom>
        </p:spPr>
        <p:txBody>
          <a:bodyPr/>
          <a:lstStyle>
            <a:lvl1pPr>
              <a:defRPr>
                <a:solidFill>
                  <a:srgbClr val="8C8C8C"/>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36D6F29D-DE9D-4743-AF90-DCEDCC3B9E5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426416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Rocket">
    <p:bg>
      <p:bgPr>
        <a:solidFill>
          <a:schemeClr val="bg1"/>
        </a:solidFill>
        <a:effectLst/>
      </p:bgPr>
    </p:bg>
    <p:spTree>
      <p:nvGrpSpPr>
        <p:cNvPr id="1" name=""/>
        <p:cNvGrpSpPr/>
        <p:nvPr/>
      </p:nvGrpSpPr>
      <p:grpSpPr>
        <a:xfrm>
          <a:off x="0" y="0"/>
          <a:ext cx="0" cy="0"/>
          <a:chOff x="0" y="0"/>
          <a:chExt cx="0" cy="0"/>
        </a:xfrm>
      </p:grpSpPr>
      <p:pic>
        <p:nvPicPr>
          <p:cNvPr id="12" name="Picture 2" descr="Related image">
            <a:extLst>
              <a:ext uri="{FF2B5EF4-FFF2-40B4-BE49-F238E27FC236}">
                <a16:creationId xmlns:a16="http://schemas.microsoft.com/office/drawing/2014/main" id="{2CA4B35C-9310-4F50-A6EE-59B08C2BB511}"/>
              </a:ext>
            </a:extLst>
          </p:cNvPr>
          <p:cNvPicPr>
            <a:picLocks noChangeAspect="1" noChangeArrowheads="1"/>
          </p:cNvPicPr>
          <p:nvPr userDrawn="1"/>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l="17312" b="1735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C473FD08-1A0E-43A7-9E7C-FD0A80421B85}"/>
              </a:ext>
            </a:extLst>
          </p:cNvPr>
          <p:cNvSpPr/>
          <p:nvPr userDrawn="1"/>
        </p:nvSpPr>
        <p:spPr>
          <a:xfrm>
            <a:off x="0" y="0"/>
            <a:ext cx="12192000" cy="6858000"/>
          </a:xfrm>
          <a:prstGeom prst="rect">
            <a:avLst/>
          </a:prstGeom>
          <a:solidFill>
            <a:schemeClr val="bg1">
              <a:alpha val="51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a:ea typeface="+mn-ea"/>
              <a:cs typeface="+mn-cs"/>
            </a:endParaRPr>
          </a:p>
        </p:txBody>
      </p:sp>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84"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grpSp>
        <p:nvGrpSpPr>
          <p:cNvPr id="9" name="Group 8"/>
          <p:cNvGrpSpPr/>
          <p:nvPr userDrawn="1"/>
        </p:nvGrpSpPr>
        <p:grpSpPr>
          <a:xfrm>
            <a:off x="293898" y="558343"/>
            <a:ext cx="669505" cy="835189"/>
            <a:chOff x="324330" y="584804"/>
            <a:chExt cx="608641" cy="759263"/>
          </a:xfrm>
        </p:grpSpPr>
        <p:sp>
          <p:nvSpPr>
            <p:cNvPr id="10" name="Parallelogram 9"/>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Rectangle 10"/>
            <p:cNvSpPr/>
            <p:nvPr/>
          </p:nvSpPr>
          <p:spPr>
            <a:xfrm rot="8954161" flipH="1" flipV="1">
              <a:off x="324330" y="904674"/>
              <a:ext cx="608641" cy="112731"/>
            </a:xfrm>
            <a:prstGeom prst="rect">
              <a:avLst/>
            </a:prstGeom>
            <a:solidFill>
              <a:srgbClr val="E9E9E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agline</a:t>
            </a:r>
            <a:endParaRPr lang="ar-SA"/>
          </a:p>
        </p:txBody>
      </p:sp>
    </p:spTree>
    <p:extLst>
      <p:ext uri="{BB962C8B-B14F-4D97-AF65-F5344CB8AC3E}">
        <p14:creationId xmlns:p14="http://schemas.microsoft.com/office/powerpoint/2010/main" val="444919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6006" y="1333501"/>
            <a:ext cx="11134586" cy="4741863"/>
          </a:xfrm>
          <a:prstGeom prst="rect">
            <a:avLst/>
          </a:prstGeom>
        </p:spPr>
        <p:txBody>
          <a:bodyPr/>
          <a:lstStyle>
            <a:lvl1pPr marL="231752" indent="-231752" algn="l" defTabSz="914309" rtl="0" eaLnBrk="1" latinLnBrk="0" hangingPunct="1">
              <a:lnSpc>
                <a:spcPct val="120000"/>
              </a:lnSpc>
              <a:spcBef>
                <a:spcPts val="1000"/>
              </a:spcBef>
              <a:buClr>
                <a:schemeClr val="accent4"/>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solidFill>
                  <a:sysClr val="windowText" lastClr="000000"/>
                </a:solidFill>
              </a:rPr>
              <a:t>Level 1</a:t>
            </a:r>
            <a:endParaRPr lang="en-US"/>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a:t>Fifth level</a:t>
            </a:r>
          </a:p>
        </p:txBody>
      </p:sp>
    </p:spTree>
    <p:extLst>
      <p:ext uri="{BB962C8B-B14F-4D97-AF65-F5344CB8AC3E}">
        <p14:creationId xmlns:p14="http://schemas.microsoft.com/office/powerpoint/2010/main" val="2850379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84068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3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89554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729940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5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550045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8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1">
                <a:latin typeface="DIN Next LT Arabic" panose="020B0503020203050203" pitchFamily="34" charset="-78"/>
                <a:cs typeface="DIN Next LT Arabic" panose="020B0503020203050203" pitchFamily="34" charset="-78"/>
              </a:rPr>
              <a:t>Thank you</a:t>
            </a:r>
          </a:p>
        </p:txBody>
      </p:sp>
    </p:spTree>
    <p:extLst>
      <p:ext uri="{BB962C8B-B14F-4D97-AF65-F5344CB8AC3E}">
        <p14:creationId xmlns:p14="http://schemas.microsoft.com/office/powerpoint/2010/main" val="4186308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8054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0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userDrawn="1">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userDrawn="1">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userDrawn="1">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369926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2051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2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3802969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2125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5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1933639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userDrawn="1"/>
        </p:nvPicPr>
        <p:blipFill>
          <a:blip r:embed="rId5">
            <a:alphaModFix amt="20000"/>
            <a:extLst>
              <a:ext uri="{28A0092B-C50C-407E-A947-70E740481C1C}">
                <a14:useLocalDpi xmlns:a14="http://schemas.microsoft.com/office/drawing/2010/main"/>
              </a:ext>
            </a:extLst>
          </a:blip>
          <a:stretch>
            <a:fillRect/>
          </a:stretch>
        </p:blipFill>
        <p:spPr>
          <a:xfrm>
            <a:off x="0" y="1954"/>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82343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6"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endParaRPr lang="en-US"/>
          </a:p>
        </p:txBody>
      </p:sp>
      <p:sp>
        <p:nvSpPr>
          <p:cNvPr id="9" name="TextBox 8">
            <a:extLst>
              <a:ext uri="{FF2B5EF4-FFF2-40B4-BE49-F238E27FC236}">
                <a16:creationId xmlns:a16="http://schemas.microsoft.com/office/drawing/2014/main" id="{23E70978-148F-482F-B755-B0B90E0D5FA7}"/>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a:t>
            </a:r>
          </a:p>
        </p:txBody>
      </p:sp>
    </p:spTree>
    <p:extLst>
      <p:ext uri="{BB962C8B-B14F-4D97-AF65-F5344CB8AC3E}">
        <p14:creationId xmlns:p14="http://schemas.microsoft.com/office/powerpoint/2010/main" val="1378071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98564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0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153663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18400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769900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3_Content Layout 1">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667364"/>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06773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4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2255215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187345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7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3792886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9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1">
                <a:latin typeface="DIN Next LT Arabic" panose="020B0503020203050203" pitchFamily="34" charset="-78"/>
                <a:cs typeface="DIN Next LT Arabic" panose="020B0503020203050203" pitchFamily="34" charset="-78"/>
              </a:rPr>
              <a:t>Thank you</a:t>
            </a:r>
          </a:p>
        </p:txBody>
      </p:sp>
    </p:spTree>
    <p:extLst>
      <p:ext uri="{BB962C8B-B14F-4D97-AF65-F5344CB8AC3E}">
        <p14:creationId xmlns:p14="http://schemas.microsoft.com/office/powerpoint/2010/main" val="376412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74645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2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userDrawn="1">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userDrawn="1">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userDrawn="1">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443730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134243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4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13906335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89215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6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2751298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userDrawn="1"/>
        </p:nvPicPr>
        <p:blipFill>
          <a:blip r:embed="rId5">
            <a:alphaModFix amt="20000"/>
            <a:extLst>
              <a:ext uri="{28A0092B-C50C-407E-A947-70E740481C1C}">
                <a14:useLocalDpi xmlns:a14="http://schemas.microsoft.com/office/drawing/2010/main"/>
              </a:ext>
            </a:extLst>
          </a:blip>
          <a:stretch>
            <a:fillRect/>
          </a:stretch>
        </p:blipFill>
        <p:spPr>
          <a:xfrm>
            <a:off x="0" y="1954"/>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88874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92"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endParaRPr lang="en-US"/>
          </a:p>
        </p:txBody>
      </p:sp>
      <p:sp>
        <p:nvSpPr>
          <p:cNvPr id="9" name="TextBox 8">
            <a:extLst>
              <a:ext uri="{FF2B5EF4-FFF2-40B4-BE49-F238E27FC236}">
                <a16:creationId xmlns:a16="http://schemas.microsoft.com/office/drawing/2014/main" id="{23E70978-148F-482F-B755-B0B90E0D5FA7}"/>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a:t>
            </a:r>
          </a:p>
        </p:txBody>
      </p:sp>
    </p:spTree>
    <p:extLst>
      <p:ext uri="{BB962C8B-B14F-4D97-AF65-F5344CB8AC3E}">
        <p14:creationId xmlns:p14="http://schemas.microsoft.com/office/powerpoint/2010/main" val="4036349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4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487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984646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3_Content Layout 1">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0317510"/>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74993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8"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CC736E-F5ED-4412-AFAD-BD08C41F041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2" name="TextBox 11"/>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A321573E-17E0-4ADD-9098-B126877D7CE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495560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06710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6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1996319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87736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8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39442976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1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1">
                <a:latin typeface="DIN Next LT Arabic" panose="020B0503020203050203" pitchFamily="34" charset="-78"/>
                <a:cs typeface="DIN Next LT Arabic" panose="020B0503020203050203" pitchFamily="34" charset="-78"/>
              </a:rPr>
              <a:t>Thank you</a:t>
            </a:r>
          </a:p>
        </p:txBody>
      </p:sp>
    </p:spTree>
    <p:extLst>
      <p:ext uri="{BB962C8B-B14F-4D97-AF65-F5344CB8AC3E}">
        <p14:creationId xmlns:p14="http://schemas.microsoft.com/office/powerpoint/2010/main" val="3629857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41618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3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userDrawn="1">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userDrawn="1">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userDrawn="1">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2421979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04428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6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1669102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42810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8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1435856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userDrawn="1"/>
        </p:nvPicPr>
        <p:blipFill>
          <a:blip r:embed="rId5">
            <a:alphaModFix amt="20000"/>
            <a:extLst>
              <a:ext uri="{28A0092B-C50C-407E-A947-70E740481C1C}">
                <a14:useLocalDpi xmlns:a14="http://schemas.microsoft.com/office/drawing/2010/main"/>
              </a:ext>
            </a:extLst>
          </a:blip>
          <a:stretch>
            <a:fillRect/>
          </a:stretch>
        </p:blipFill>
        <p:spPr>
          <a:xfrm>
            <a:off x="0" y="1954"/>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52391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108"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endParaRPr lang="en-US"/>
          </a:p>
        </p:txBody>
      </p:sp>
      <p:sp>
        <p:nvSpPr>
          <p:cNvPr id="9" name="TextBox 8">
            <a:extLst>
              <a:ext uri="{FF2B5EF4-FFF2-40B4-BE49-F238E27FC236}">
                <a16:creationId xmlns:a16="http://schemas.microsoft.com/office/drawing/2014/main" id="{23E70978-148F-482F-B755-B0B90E0D5FA7}"/>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a:t>
            </a:r>
          </a:p>
        </p:txBody>
      </p:sp>
    </p:spTree>
    <p:extLst>
      <p:ext uri="{BB962C8B-B14F-4D97-AF65-F5344CB8AC3E}">
        <p14:creationId xmlns:p14="http://schemas.microsoft.com/office/powerpoint/2010/main" val="4235387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4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7148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3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80679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3_Content Layout 1">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7198571"/>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0803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8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3032653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690009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0368C4-D68E-47CF-9671-7D99823E7821}"/>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2"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5850949" cy="909637"/>
          </a:xfrm>
        </p:spPr>
        <p:txBody>
          <a:bodyPr lIns="0" tIns="0" rIns="0" bIns="0" anchor="t" anchorCtr="0">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9" name="TextBox 18"/>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71" name="Group 70"/>
          <p:cNvGrpSpPr/>
          <p:nvPr userDrawn="1"/>
        </p:nvGrpSpPr>
        <p:grpSpPr>
          <a:xfrm>
            <a:off x="293898" y="558343"/>
            <a:ext cx="669505" cy="835189"/>
            <a:chOff x="324330" y="584804"/>
            <a:chExt cx="608641" cy="759263"/>
          </a:xfrm>
        </p:grpSpPr>
        <p:sp>
          <p:nvSpPr>
            <p:cNvPr id="72" name="Parallelogram 71"/>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3" name="Rectangle 72"/>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4" name="Footer Placeholder 4">
            <a:extLst>
              <a:ext uri="{FF2B5EF4-FFF2-40B4-BE49-F238E27FC236}">
                <a16:creationId xmlns:a16="http://schemas.microsoft.com/office/drawing/2014/main" id="{C4E2DF32-7AC8-4113-99F9-20C3217346C5}"/>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7632331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99209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20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3461169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2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1">
                <a:latin typeface="DIN Next LT Arabic" panose="020B0503020203050203" pitchFamily="34" charset="-78"/>
                <a:cs typeface="DIN Next LT Arabic" panose="020B0503020203050203" pitchFamily="34" charset="-78"/>
              </a:rPr>
              <a:t>Thank you</a:t>
            </a:r>
          </a:p>
        </p:txBody>
      </p:sp>
    </p:spTree>
    <p:extLst>
      <p:ext uri="{BB962C8B-B14F-4D97-AF65-F5344CB8AC3E}">
        <p14:creationId xmlns:p14="http://schemas.microsoft.com/office/powerpoint/2010/main" val="3935692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90376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5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userDrawn="1">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userDrawn="1">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userDrawn="1">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2225862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92007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7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2245286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7047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30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487832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userDrawn="1"/>
        </p:nvPicPr>
        <p:blipFill>
          <a:blip r:embed="rId5">
            <a:alphaModFix amt="20000"/>
            <a:extLst>
              <a:ext uri="{28A0092B-C50C-407E-A947-70E740481C1C}">
                <a14:useLocalDpi xmlns:a14="http://schemas.microsoft.com/office/drawing/2010/main"/>
              </a:ext>
            </a:extLst>
          </a:blip>
          <a:stretch>
            <a:fillRect/>
          </a:stretch>
        </p:blipFill>
        <p:spPr>
          <a:xfrm>
            <a:off x="0" y="1954"/>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25705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324"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endParaRPr lang="en-US"/>
          </a:p>
        </p:txBody>
      </p:sp>
      <p:sp>
        <p:nvSpPr>
          <p:cNvPr id="9" name="TextBox 8">
            <a:extLst>
              <a:ext uri="{FF2B5EF4-FFF2-40B4-BE49-F238E27FC236}">
                <a16:creationId xmlns:a16="http://schemas.microsoft.com/office/drawing/2014/main" id="{23E70978-148F-482F-B755-B0B90E0D5FA7}"/>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a:t>
            </a:r>
          </a:p>
        </p:txBody>
      </p:sp>
    </p:spTree>
    <p:extLst>
      <p:ext uri="{BB962C8B-B14F-4D97-AF65-F5344CB8AC3E}">
        <p14:creationId xmlns:p14="http://schemas.microsoft.com/office/powerpoint/2010/main" val="210693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56003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4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1021468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3_Content Layout 1">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137113"/>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61139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4285547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75144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2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855480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117577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646291E-DE10-4364-A565-9610F0EE1DAF}"/>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9" name="Picture 8"/>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0"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4267795" cy="909637"/>
          </a:xfrm>
        </p:spPr>
        <p:txBody>
          <a:bodyPr lIns="0" tIns="0" rIns="0" bIns="0" anchor="t" anchorCtr="0">
            <a:noAutofit/>
          </a:bodyPr>
          <a:lstStyle>
            <a:lvl1pPr rtl="0">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9"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78" name="Group 77"/>
          <p:cNvGrpSpPr/>
          <p:nvPr userDrawn="1"/>
        </p:nvGrpSpPr>
        <p:grpSpPr>
          <a:xfrm>
            <a:off x="293898" y="558343"/>
            <a:ext cx="669505" cy="835189"/>
            <a:chOff x="324330" y="584804"/>
            <a:chExt cx="608641" cy="759263"/>
          </a:xfrm>
        </p:grpSpPr>
        <p:sp>
          <p:nvSpPr>
            <p:cNvPr id="79" name="Parallelogram 78"/>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0" name="Rectangle 79"/>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12403095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4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1">
                <a:latin typeface="DIN Next LT Arabic" panose="020B0503020203050203" pitchFamily="34" charset="-78"/>
                <a:cs typeface="DIN Next LT Arabic" panose="020B0503020203050203" pitchFamily="34" charset="-78"/>
              </a:rPr>
              <a:t>Thank you</a:t>
            </a:r>
          </a:p>
        </p:txBody>
      </p:sp>
    </p:spTree>
    <p:extLst>
      <p:ext uri="{BB962C8B-B14F-4D97-AF65-F5344CB8AC3E}">
        <p14:creationId xmlns:p14="http://schemas.microsoft.com/office/powerpoint/2010/main" val="2047533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6870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6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userDrawn="1">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userDrawn="1">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userDrawn="1">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3373192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327572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9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3275361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14934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51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4190214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userDrawn="1"/>
        </p:nvPicPr>
        <p:blipFill>
          <a:blip r:embed="rId5">
            <a:alphaModFix amt="20000"/>
            <a:extLst>
              <a:ext uri="{28A0092B-C50C-407E-A947-70E740481C1C}">
                <a14:useLocalDpi xmlns:a14="http://schemas.microsoft.com/office/drawing/2010/main"/>
              </a:ext>
            </a:extLst>
          </a:blip>
          <a:stretch>
            <a:fillRect/>
          </a:stretch>
        </p:blipFill>
        <p:spPr>
          <a:xfrm>
            <a:off x="0" y="1954"/>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76727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40"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endParaRPr lang="en-US"/>
          </a:p>
        </p:txBody>
      </p:sp>
      <p:sp>
        <p:nvSpPr>
          <p:cNvPr id="9" name="TextBox 8">
            <a:extLst>
              <a:ext uri="{FF2B5EF4-FFF2-40B4-BE49-F238E27FC236}">
                <a16:creationId xmlns:a16="http://schemas.microsoft.com/office/drawing/2014/main" id="{23E70978-148F-482F-B755-B0B90E0D5FA7}"/>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a:t>
            </a:r>
          </a:p>
        </p:txBody>
      </p:sp>
    </p:spTree>
    <p:extLst>
      <p:ext uri="{BB962C8B-B14F-4D97-AF65-F5344CB8AC3E}">
        <p14:creationId xmlns:p14="http://schemas.microsoft.com/office/powerpoint/2010/main" val="3235148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18282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6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656929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3_Content Layout 1">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003230"/>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02838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61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1829013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25224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8935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6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1">
                <a:latin typeface="DIN Next LT Arabic" panose="020B0503020203050203" pitchFamily="34" charset="-78"/>
                <a:cs typeface="DIN Next LT Arabic" panose="020B0503020203050203" pitchFamily="34" charset="-78"/>
              </a:rPr>
              <a:t>Thank you</a:t>
            </a:r>
          </a:p>
        </p:txBody>
      </p:sp>
    </p:spTree>
    <p:extLst>
      <p:ext uri="{BB962C8B-B14F-4D97-AF65-F5344CB8AC3E}">
        <p14:creationId xmlns:p14="http://schemas.microsoft.com/office/powerpoint/2010/main" val="1641320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636433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0DC9F28-E4E2-418E-B810-B9C9EBBE7113}"/>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7" name="Title 4"/>
          <p:cNvSpPr>
            <a:spLocks noGrp="1"/>
          </p:cNvSpPr>
          <p:nvPr>
            <p:ph type="title" hasCustomPrompt="1"/>
          </p:nvPr>
        </p:nvSpPr>
        <p:spPr>
          <a:xfrm>
            <a:off x="695325" y="2681103"/>
            <a:ext cx="3062556" cy="1495794"/>
          </a:xfrm>
          <a:prstGeom prst="rect">
            <a:avLst/>
          </a:prstGeom>
        </p:spPr>
        <p:txBody>
          <a:bodyPr anchor="ctr">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Tree>
    <p:extLst>
      <p:ext uri="{BB962C8B-B14F-4D97-AF65-F5344CB8AC3E}">
        <p14:creationId xmlns:p14="http://schemas.microsoft.com/office/powerpoint/2010/main" val="688516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5254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8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1663026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212092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70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3787040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p:nvPicPr>
        <p:blipFill>
          <a:blip r:embed="rId5">
            <a:alphaModFix amt="20000"/>
            <a:extLst>
              <a:ext uri="{28A0092B-C50C-407E-A947-70E740481C1C}">
                <a14:useLocalDpi xmlns:a14="http://schemas.microsoft.com/office/drawing/2010/main"/>
              </a:ext>
            </a:extLst>
          </a:blip>
          <a:stretch>
            <a:fillRect/>
          </a:stretch>
        </p:blipFill>
        <p:spPr>
          <a:xfrm>
            <a:off x="0" y="1954"/>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699011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32"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endParaRPr lang="en-US"/>
          </a:p>
        </p:txBody>
      </p:sp>
      <p:sp>
        <p:nvSpPr>
          <p:cNvPr id="9" name="TextBox 8">
            <a:extLst>
              <a:ext uri="{FF2B5EF4-FFF2-40B4-BE49-F238E27FC236}">
                <a16:creationId xmlns:a16="http://schemas.microsoft.com/office/drawing/2014/main" id="{23E70978-148F-482F-B755-B0B90E0D5FA7}"/>
              </a:ext>
            </a:extLst>
          </p:cNvPr>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a:t>
            </a:r>
          </a:p>
        </p:txBody>
      </p:sp>
    </p:spTree>
    <p:extLst>
      <p:ext uri="{BB962C8B-B14F-4D97-AF65-F5344CB8AC3E}">
        <p14:creationId xmlns:p14="http://schemas.microsoft.com/office/powerpoint/2010/main" val="3105147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4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17629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5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425054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6154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80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2942414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092556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82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2579742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5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1">
                <a:latin typeface="DIN Next LT Arabic" panose="020B0503020203050203" pitchFamily="34" charset="-78"/>
                <a:cs typeface="DIN Next LT Arabic" panose="020B0503020203050203" pitchFamily="34" charset="-78"/>
              </a:rPr>
              <a:t>Thank you</a:t>
            </a:r>
          </a:p>
        </p:txBody>
      </p:sp>
    </p:spTree>
    <p:extLst>
      <p:ext uri="{BB962C8B-B14F-4D97-AF65-F5344CB8AC3E}">
        <p14:creationId xmlns:p14="http://schemas.microsoft.com/office/powerpoint/2010/main" val="1353105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33610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1192962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3514470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90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4079290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p:nvPicPr>
        <p:blipFill>
          <a:blip r:embed="rId5">
            <a:alphaModFix amt="20000"/>
            <a:extLst>
              <a:ext uri="{28A0092B-C50C-407E-A947-70E740481C1C}">
                <a14:useLocalDpi xmlns:a14="http://schemas.microsoft.com/office/drawing/2010/main"/>
              </a:ext>
            </a:extLst>
          </a:blip>
          <a:stretch>
            <a:fillRect/>
          </a:stretch>
        </p:blipFill>
        <p:spPr>
          <a:xfrm>
            <a:off x="0" y="1954"/>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16910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924"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endParaRPr lang="en-US"/>
          </a:p>
        </p:txBody>
      </p:sp>
      <p:sp>
        <p:nvSpPr>
          <p:cNvPr id="9" name="TextBox 8">
            <a:extLst>
              <a:ext uri="{FF2B5EF4-FFF2-40B4-BE49-F238E27FC236}">
                <a16:creationId xmlns:a16="http://schemas.microsoft.com/office/drawing/2014/main" id="{23E70978-148F-482F-B755-B0B90E0D5FA7}"/>
              </a:ext>
            </a:extLst>
          </p:cNvPr>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a:t>
            </a:r>
          </a:p>
        </p:txBody>
      </p:sp>
    </p:spTree>
    <p:extLst>
      <p:ext uri="{BB962C8B-B14F-4D97-AF65-F5344CB8AC3E}">
        <p14:creationId xmlns:p14="http://schemas.microsoft.com/office/powerpoint/2010/main" val="1297697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9837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4"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697BA8-C793-46E3-A441-E6E8A66948B0}"/>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95325" y="2681103"/>
            <a:ext cx="3062556" cy="1495794"/>
          </a:xfrm>
          <a:prstGeom prst="rect">
            <a:avLst/>
          </a:prstGeom>
        </p:spPr>
        <p:txBody>
          <a:bodyPr anchor="ctr">
            <a:noAutofit/>
          </a:bodyPr>
          <a:lstStyle>
            <a:lvl1pPr>
              <a:defRPr sz="3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1" name="TextBox 20"/>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2" name="Footer Placeholder 4">
            <a:extLst>
              <a:ext uri="{FF2B5EF4-FFF2-40B4-BE49-F238E27FC236}">
                <a16:creationId xmlns:a16="http://schemas.microsoft.com/office/drawing/2014/main" id="{15C6CB8B-AAF3-4F17-9B5A-2845E3D61F0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890366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4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75710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4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4038559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6895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9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1625371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2375869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002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1280567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4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1">
                <a:latin typeface="DIN Next LT Arabic" panose="020B0503020203050203" pitchFamily="34" charset="-78"/>
                <a:cs typeface="DIN Next LT Arabic" panose="020B0503020203050203" pitchFamily="34" charset="-78"/>
              </a:rPr>
              <a:t>Thank you</a:t>
            </a:r>
          </a:p>
        </p:txBody>
      </p:sp>
    </p:spTree>
    <p:extLst>
      <p:ext uri="{BB962C8B-B14F-4D97-AF65-F5344CB8AC3E}">
        <p14:creationId xmlns:p14="http://schemas.microsoft.com/office/powerpoint/2010/main" val="3976123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40306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6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4071315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706926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9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469016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p:nvPicPr>
        <p:blipFill>
          <a:blip r:embed="rId5">
            <a:alphaModFix amt="20000"/>
            <a:extLst>
              <a:ext uri="{28A0092B-C50C-407E-A947-70E740481C1C}">
                <a14:useLocalDpi xmlns:a14="http://schemas.microsoft.com/office/drawing/2010/main"/>
              </a:ext>
            </a:extLst>
          </a:blip>
          <a:stretch>
            <a:fillRect/>
          </a:stretch>
        </p:blipFill>
        <p:spPr>
          <a:xfrm>
            <a:off x="0" y="1954"/>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57340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6"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endParaRPr lang="en-US"/>
          </a:p>
        </p:txBody>
      </p:sp>
      <p:sp>
        <p:nvSpPr>
          <p:cNvPr id="9" name="TextBox 8">
            <a:extLst>
              <a:ext uri="{FF2B5EF4-FFF2-40B4-BE49-F238E27FC236}">
                <a16:creationId xmlns:a16="http://schemas.microsoft.com/office/drawing/2014/main" id="{23E70978-148F-482F-B755-B0B90E0D5FA7}"/>
              </a:ext>
            </a:extLst>
          </p:cNvPr>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a:t>
            </a:r>
          </a:p>
        </p:txBody>
      </p:sp>
    </p:spTree>
    <p:extLst>
      <p:ext uri="{BB962C8B-B14F-4D97-AF65-F5344CB8AC3E}">
        <p14:creationId xmlns:p14="http://schemas.microsoft.com/office/powerpoint/2010/main" val="3573462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4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41752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4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3024753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23295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8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8" name="Picture 17">
            <a:extLst>
              <a:ext uri="{FF2B5EF4-FFF2-40B4-BE49-F238E27FC236}">
                <a16:creationId xmlns:a16="http://schemas.microsoft.com/office/drawing/2014/main" id="{DFDDE4B7-1CAB-C84F-90FD-9F68D636888D}"/>
              </a:ext>
            </a:extLst>
          </p:cNvPr>
          <p:cNvPicPr>
            <a:picLocks noChangeAspect="1"/>
          </p:cNvPicPr>
          <p:nvPr userDrawn="1"/>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9338" y="538582"/>
            <a:ext cx="2207259" cy="825698"/>
          </a:xfrm>
          <a:prstGeom prst="rect">
            <a:avLst/>
          </a:prstGeom>
        </p:spPr>
      </p:pic>
      <p:sp>
        <p:nvSpPr>
          <p:cNvPr id="16" name="Title 1">
            <a:extLst>
              <a:ext uri="{FF2B5EF4-FFF2-40B4-BE49-F238E27FC236}">
                <a16:creationId xmlns:a16="http://schemas.microsoft.com/office/drawing/2014/main" id="{118B6C8E-8090-4E6B-AB72-A7933543EF90}"/>
              </a:ext>
            </a:extLst>
          </p:cNvPr>
          <p:cNvSpPr>
            <a:spLocks noGrp="1"/>
          </p:cNvSpPr>
          <p:nvPr>
            <p:ph type="ctrTitle" hasCustomPrompt="1"/>
          </p:nvPr>
        </p:nvSpPr>
        <p:spPr>
          <a:xfrm>
            <a:off x="695325" y="1715590"/>
            <a:ext cx="5400675" cy="1994624"/>
          </a:xfrm>
        </p:spPr>
        <p:txBody>
          <a:bodyPr lIns="0" tIns="0" rIns="0" bIns="0" anchor="b">
            <a:noAutofit/>
          </a:bodyPr>
          <a:lstStyle>
            <a:lvl1pPr algn="l">
              <a:defRPr sz="4400">
                <a:solidFill>
                  <a:schemeClr val="tx2"/>
                </a:solidFill>
                <a:latin typeface="+mj-lt"/>
                <a:ea typeface="+mj-ea"/>
                <a:cs typeface="+mj-cs"/>
                <a:sym typeface="+mj-lt"/>
              </a:defRPr>
            </a:lvl1pPr>
          </a:lstStyle>
          <a:p>
            <a:r>
              <a:rPr lang="en-US"/>
              <a:t>Presentation title goes here</a:t>
            </a:r>
            <a:endParaRPr lang="ar-SA"/>
          </a:p>
        </p:txBody>
      </p:sp>
      <p:sp>
        <p:nvSpPr>
          <p:cNvPr id="17" name="Subtitle 2">
            <a:extLst>
              <a:ext uri="{FF2B5EF4-FFF2-40B4-BE49-F238E27FC236}">
                <a16:creationId xmlns:a16="http://schemas.microsoft.com/office/drawing/2014/main" id="{4D5EE6E8-A3DF-421A-AFA2-A19B30A699D8}"/>
              </a:ext>
            </a:extLst>
          </p:cNvPr>
          <p:cNvSpPr>
            <a:spLocks noGrp="1"/>
          </p:cNvSpPr>
          <p:nvPr>
            <p:ph type="subTitle" idx="1" hasCustomPrompt="1"/>
          </p:nvPr>
        </p:nvSpPr>
        <p:spPr>
          <a:xfrm>
            <a:off x="695325" y="3878566"/>
            <a:ext cx="5400676" cy="863751"/>
          </a:xfrm>
        </p:spPr>
        <p:txBody>
          <a:bodyPr lIns="0" tIns="0" rIns="0" bIns="0">
            <a:noAutofit/>
          </a:bodyPr>
          <a:lstStyle>
            <a:lvl1pPr marL="0" indent="0" algn="l">
              <a:buNone/>
              <a:defRPr sz="2400">
                <a:solidFill>
                  <a:schemeClr val="tx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9" name="Text Placeholder 4">
            <a:extLst>
              <a:ext uri="{FF2B5EF4-FFF2-40B4-BE49-F238E27FC236}">
                <a16:creationId xmlns:a16="http://schemas.microsoft.com/office/drawing/2014/main" id="{9D229DDF-28A8-4374-8833-6BC778351496}"/>
              </a:ext>
            </a:extLst>
          </p:cNvPr>
          <p:cNvSpPr>
            <a:spLocks noGrp="1"/>
          </p:cNvSpPr>
          <p:nvPr>
            <p:ph type="body" sz="quarter" idx="13" hasCustomPrompt="1"/>
          </p:nvPr>
        </p:nvSpPr>
        <p:spPr>
          <a:xfrm>
            <a:off x="695325" y="5024348"/>
            <a:ext cx="5400675" cy="365125"/>
          </a:xfrm>
        </p:spPr>
        <p:txBody>
          <a:bodyPr/>
          <a:lstStyle>
            <a:lvl1pPr>
              <a:defRPr sz="1800"/>
            </a:lvl1pPr>
          </a:lstStyle>
          <a:p>
            <a:pPr lvl="0"/>
            <a:r>
              <a:rPr lang="en-US"/>
              <a:t>Date</a:t>
            </a:r>
          </a:p>
        </p:txBody>
      </p:sp>
      <p:pic>
        <p:nvPicPr>
          <p:cNvPr id="21" name="Picture 20">
            <a:extLst>
              <a:ext uri="{FF2B5EF4-FFF2-40B4-BE49-F238E27FC236}">
                <a16:creationId xmlns:a16="http://schemas.microsoft.com/office/drawing/2014/main" id="{76637089-851E-4A1D-BAAE-7C5AA19730E6}"/>
              </a:ext>
            </a:extLst>
          </p:cNvPr>
          <p:cNvPicPr>
            <a:picLocks noChangeAspect="1"/>
          </p:cNvPicPr>
          <p:nvPr userDrawn="1"/>
        </p:nvPicPr>
        <p:blipFill>
          <a:blip r:embed="rId8" cstate="email">
            <a:extLst>
              <a:ext uri="{28A0092B-C50C-407E-A947-70E740481C1C}">
                <a14:useLocalDpi xmlns:a14="http://schemas.microsoft.com/office/drawing/2010/main"/>
              </a:ext>
            </a:extLst>
          </a:blip>
          <a:srcRect/>
          <a:stretch/>
        </p:blipFill>
        <p:spPr>
          <a:xfrm>
            <a:off x="6869441" y="1539551"/>
            <a:ext cx="3869460" cy="3778898"/>
          </a:xfrm>
          <a:prstGeom prst="rect">
            <a:avLst/>
          </a:prstGeom>
        </p:spPr>
      </p:pic>
    </p:spTree>
    <p:extLst>
      <p:ext uri="{BB962C8B-B14F-4D97-AF65-F5344CB8AC3E}">
        <p14:creationId xmlns:p14="http://schemas.microsoft.com/office/powerpoint/2010/main" val="4163309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8246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21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a:extLst>
              <a:ext uri="{FF2B5EF4-FFF2-40B4-BE49-F238E27FC236}">
                <a16:creationId xmlns:a16="http://schemas.microsoft.com/office/drawing/2014/main" id="{DFDDE4B7-1CAB-C84F-90FD-9F68D636888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2460758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524258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743F5F-AA84-4D9A-87EA-C7897D7C6ABE}"/>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95325" y="1785600"/>
            <a:ext cx="4323075" cy="3286800"/>
          </a:xfrm>
          <a:prstGeom prst="rect">
            <a:avLst/>
          </a:prstGeom>
          <a:noFill/>
        </p:spPr>
        <p:txBody>
          <a:bodyPr wrap="square" lIns="0" tIns="0" rIns="320040" bIns="0"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5" name="Footer Placeholder 4">
            <a:extLst>
              <a:ext uri="{FF2B5EF4-FFF2-40B4-BE49-F238E27FC236}">
                <a16:creationId xmlns:a16="http://schemas.microsoft.com/office/drawing/2014/main" id="{33E26693-A5AA-4A1A-8AB7-E0F6CB510DFF}"/>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4070892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68473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36"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2F22FD0-6596-4843-9D87-E0FE7F322A8B}"/>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1"/>
          <p:cNvSpPr>
            <a:spLocks/>
          </p:cNvSpPr>
          <p:nvPr userDrawn="1"/>
        </p:nvSpPr>
        <p:spPr bwMode="auto">
          <a:xfrm>
            <a:off x="2" y="1"/>
            <a:ext cx="12191999" cy="6857998"/>
          </a:xfrm>
          <a:custGeom>
            <a:avLst/>
            <a:gdLst>
              <a:gd name="connsiteX0" fmla="*/ 4431989 w 12191999"/>
              <a:gd name="connsiteY0" fmla="*/ 5571788 h 6857998"/>
              <a:gd name="connsiteX1" fmla="*/ 4431989 w 12191999"/>
              <a:gd name="connsiteY1" fmla="*/ 5997393 h 6857998"/>
              <a:gd name="connsiteX2" fmla="*/ 4797291 w 12191999"/>
              <a:gd name="connsiteY2" fmla="*/ 5783919 h 6857998"/>
              <a:gd name="connsiteX3" fmla="*/ 370675 w 12191999"/>
              <a:gd name="connsiteY3" fmla="*/ 4927340 h 6857998"/>
              <a:gd name="connsiteX4" fmla="*/ 2686 w 12191999"/>
              <a:gd name="connsiteY4" fmla="*/ 5139471 h 6857998"/>
              <a:gd name="connsiteX5" fmla="*/ 370675 w 12191999"/>
              <a:gd name="connsiteY5" fmla="*/ 5352945 h 6857998"/>
              <a:gd name="connsiteX6" fmla="*/ 6275965 w 12191999"/>
              <a:gd name="connsiteY6" fmla="*/ 3218211 h 6857998"/>
              <a:gd name="connsiteX7" fmla="*/ 5912005 w 12191999"/>
              <a:gd name="connsiteY7" fmla="*/ 3430342 h 6857998"/>
              <a:gd name="connsiteX8" fmla="*/ 6275965 w 12191999"/>
              <a:gd name="connsiteY8" fmla="*/ 3643816 h 6857998"/>
              <a:gd name="connsiteX9" fmla="*/ 370675 w 12191999"/>
              <a:gd name="connsiteY9" fmla="*/ 3218211 h 6857998"/>
              <a:gd name="connsiteX10" fmla="*/ 370675 w 12191999"/>
              <a:gd name="connsiteY10" fmla="*/ 4076133 h 6857998"/>
              <a:gd name="connsiteX11" fmla="*/ 735978 w 12191999"/>
              <a:gd name="connsiteY11" fmla="*/ 4285578 h 6857998"/>
              <a:gd name="connsiteX12" fmla="*/ 735978 w 12191999"/>
              <a:gd name="connsiteY12" fmla="*/ 3430342 h 6857998"/>
              <a:gd name="connsiteX13" fmla="*/ 5171997 w 12191999"/>
              <a:gd name="connsiteY13" fmla="*/ 1290239 h 6857998"/>
              <a:gd name="connsiteX14" fmla="*/ 5171997 w 12191999"/>
              <a:gd name="connsiteY14" fmla="*/ 1715843 h 6857998"/>
              <a:gd name="connsiteX15" fmla="*/ 5537299 w 12191999"/>
              <a:gd name="connsiteY15" fmla="*/ 1502370 h 6857998"/>
              <a:gd name="connsiteX16" fmla="*/ 370675 w 12191999"/>
              <a:gd name="connsiteY16" fmla="*/ 645791 h 6857998"/>
              <a:gd name="connsiteX17" fmla="*/ 370675 w 12191999"/>
              <a:gd name="connsiteY17" fmla="*/ 1071396 h 6857998"/>
              <a:gd name="connsiteX18" fmla="*/ 735978 w 12191999"/>
              <a:gd name="connsiteY18" fmla="*/ 857922 h 6857998"/>
              <a:gd name="connsiteX19" fmla="*/ 2958689 w 12191999"/>
              <a:gd name="connsiteY19" fmla="*/ 0 h 6857998"/>
              <a:gd name="connsiteX20" fmla="*/ 12191999 w 12191999"/>
              <a:gd name="connsiteY20" fmla="*/ 0 h 6857998"/>
              <a:gd name="connsiteX21" fmla="*/ 12191999 w 12191999"/>
              <a:gd name="connsiteY21" fmla="*/ 6857998 h 6857998"/>
              <a:gd name="connsiteX22" fmla="*/ 4431991 w 12191999"/>
              <a:gd name="connsiteY22" fmla="*/ 6857998 h 6857998"/>
              <a:gd name="connsiteX23" fmla="*/ 4797291 w 12191999"/>
              <a:gd name="connsiteY23" fmla="*/ 6641840 h 6857998"/>
              <a:gd name="connsiteX24" fmla="*/ 4431989 w 12191999"/>
              <a:gd name="connsiteY24" fmla="*/ 6429709 h 6857998"/>
              <a:gd name="connsiteX25" fmla="*/ 4431989 w 12191999"/>
              <a:gd name="connsiteY25" fmla="*/ 6857998 h 6857998"/>
              <a:gd name="connsiteX26" fmla="*/ 3691983 w 12191999"/>
              <a:gd name="connsiteY26" fmla="*/ 6857998 h 6857998"/>
              <a:gd name="connsiteX27" fmla="*/ 3691983 w 12191999"/>
              <a:gd name="connsiteY27" fmla="*/ 6848600 h 6857998"/>
              <a:gd name="connsiteX28" fmla="*/ 3691983 w 12191999"/>
              <a:gd name="connsiteY28" fmla="*/ 6000077 h 6857998"/>
              <a:gd name="connsiteX29" fmla="*/ 5537300 w 12191999"/>
              <a:gd name="connsiteY29" fmla="*/ 4927340 h 6857998"/>
              <a:gd name="connsiteX30" fmla="*/ 5537300 w 12191999"/>
              <a:gd name="connsiteY30" fmla="*/ 3641129 h 6857998"/>
              <a:gd name="connsiteX31" fmla="*/ 5165282 w 12191999"/>
              <a:gd name="connsiteY31" fmla="*/ 3427656 h 6857998"/>
              <a:gd name="connsiteX32" fmla="*/ 5165282 w 12191999"/>
              <a:gd name="connsiteY32" fmla="*/ 2148160 h 6857998"/>
              <a:gd name="connsiteX33" fmla="*/ 4793264 w 12191999"/>
              <a:gd name="connsiteY33" fmla="*/ 1934686 h 6857998"/>
              <a:gd name="connsiteX34" fmla="*/ 4793264 w 12191999"/>
              <a:gd name="connsiteY34" fmla="*/ 1502369 h 6857998"/>
              <a:gd name="connsiteX35" fmla="*/ 4431989 w 12191999"/>
              <a:gd name="connsiteY35" fmla="*/ 1292924 h 6857998"/>
              <a:gd name="connsiteX36" fmla="*/ 4431989 w 12191999"/>
              <a:gd name="connsiteY36" fmla="*/ 857921 h 6857998"/>
              <a:gd name="connsiteX37" fmla="*/ 0 w 12191999"/>
              <a:gd name="connsiteY37" fmla="*/ 0 h 6857998"/>
              <a:gd name="connsiteX38" fmla="*/ 735979 w 12191999"/>
              <a:gd name="connsiteY38" fmla="*/ 0 h 6857998"/>
              <a:gd name="connsiteX39" fmla="*/ 738666 w 12191999"/>
              <a:gd name="connsiteY39" fmla="*/ 0 h 6857998"/>
              <a:gd name="connsiteX40" fmla="*/ 738666 w 12191999"/>
              <a:gd name="connsiteY40" fmla="*/ 1287553 h 6857998"/>
              <a:gd name="connsiteX41" fmla="*/ 367990 w 12191999"/>
              <a:gd name="connsiteY41" fmla="*/ 1499684 h 6857998"/>
              <a:gd name="connsiteX42" fmla="*/ 367990 w 12191999"/>
              <a:gd name="connsiteY42" fmla="*/ 1927973 h 6857998"/>
              <a:gd name="connsiteX43" fmla="*/ 735979 w 12191999"/>
              <a:gd name="connsiteY43" fmla="*/ 2141447 h 6857998"/>
              <a:gd name="connsiteX44" fmla="*/ 735979 w 12191999"/>
              <a:gd name="connsiteY44" fmla="*/ 2573764 h 6857998"/>
              <a:gd name="connsiteX45" fmla="*/ 1107998 w 12191999"/>
              <a:gd name="connsiteY45" fmla="*/ 2789922 h 6857998"/>
              <a:gd name="connsiteX46" fmla="*/ 1107998 w 12191999"/>
              <a:gd name="connsiteY46" fmla="*/ 5783919 h 6857998"/>
              <a:gd name="connsiteX47" fmla="*/ 367990 w 12191999"/>
              <a:gd name="connsiteY47" fmla="*/ 6216236 h 6857998"/>
              <a:gd name="connsiteX48" fmla="*/ 367990 w 12191999"/>
              <a:gd name="connsiteY48" fmla="*/ 6641840 h 6857998"/>
              <a:gd name="connsiteX49" fmla="*/ 738666 w 12191999"/>
              <a:gd name="connsiteY49" fmla="*/ 6425681 h 6857998"/>
              <a:gd name="connsiteX50" fmla="*/ 738666 w 12191999"/>
              <a:gd name="connsiteY50" fmla="*/ 6857998 h 6857998"/>
              <a:gd name="connsiteX51" fmla="*/ 0 w 12191999"/>
              <a:gd name="connsiteY51" fmla="*/ 6857998 h 6857998"/>
              <a:gd name="connsiteX52" fmla="*/ 0 w 12191999"/>
              <a:gd name="connsiteY52" fmla="*/ 4717894 h 6857998"/>
              <a:gd name="connsiteX53" fmla="*/ 365304 w 12191999"/>
              <a:gd name="connsiteY53" fmla="*/ 4504421 h 6857998"/>
              <a:gd name="connsiteX54" fmla="*/ 0 w 12191999"/>
              <a:gd name="connsiteY54" fmla="*/ 4292290 h 6857998"/>
              <a:gd name="connsiteX55" fmla="*/ 0 w 12191999"/>
              <a:gd name="connsiteY55" fmla="*/ 4285577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91999" h="6857998">
                <a:moveTo>
                  <a:pt x="4431989" y="5571788"/>
                </a:moveTo>
                <a:lnTo>
                  <a:pt x="4431989" y="5997393"/>
                </a:lnTo>
                <a:lnTo>
                  <a:pt x="4797291" y="5783919"/>
                </a:lnTo>
                <a:close/>
                <a:moveTo>
                  <a:pt x="370675" y="4927340"/>
                </a:moveTo>
                <a:lnTo>
                  <a:pt x="2686" y="5139471"/>
                </a:lnTo>
                <a:lnTo>
                  <a:pt x="370675" y="5352945"/>
                </a:lnTo>
                <a:close/>
                <a:moveTo>
                  <a:pt x="6275965" y="3218211"/>
                </a:moveTo>
                <a:lnTo>
                  <a:pt x="5912005" y="3430342"/>
                </a:lnTo>
                <a:lnTo>
                  <a:pt x="6275965" y="3643816"/>
                </a:lnTo>
                <a:close/>
                <a:moveTo>
                  <a:pt x="370675" y="3218211"/>
                </a:moveTo>
                <a:lnTo>
                  <a:pt x="370675" y="4076133"/>
                </a:lnTo>
                <a:lnTo>
                  <a:pt x="735978" y="4285578"/>
                </a:lnTo>
                <a:lnTo>
                  <a:pt x="735978" y="3430342"/>
                </a:lnTo>
                <a:close/>
                <a:moveTo>
                  <a:pt x="5171997" y="1290239"/>
                </a:moveTo>
                <a:lnTo>
                  <a:pt x="5171997" y="1715843"/>
                </a:lnTo>
                <a:lnTo>
                  <a:pt x="5537299" y="1502370"/>
                </a:lnTo>
                <a:close/>
                <a:moveTo>
                  <a:pt x="370675" y="645791"/>
                </a:moveTo>
                <a:lnTo>
                  <a:pt x="370675" y="1071396"/>
                </a:lnTo>
                <a:lnTo>
                  <a:pt x="735978" y="857922"/>
                </a:lnTo>
                <a:close/>
                <a:moveTo>
                  <a:pt x="2958689" y="0"/>
                </a:moveTo>
                <a:lnTo>
                  <a:pt x="12191999" y="0"/>
                </a:lnTo>
                <a:lnTo>
                  <a:pt x="12191999" y="6857998"/>
                </a:lnTo>
                <a:lnTo>
                  <a:pt x="4431991" y="6857998"/>
                </a:lnTo>
                <a:lnTo>
                  <a:pt x="4797291" y="6641840"/>
                </a:lnTo>
                <a:lnTo>
                  <a:pt x="4431989" y="6429709"/>
                </a:lnTo>
                <a:lnTo>
                  <a:pt x="4431989" y="6857998"/>
                </a:lnTo>
                <a:lnTo>
                  <a:pt x="3691983" y="6857998"/>
                </a:lnTo>
                <a:lnTo>
                  <a:pt x="3691983" y="6848600"/>
                </a:lnTo>
                <a:lnTo>
                  <a:pt x="3691983" y="6000077"/>
                </a:lnTo>
                <a:lnTo>
                  <a:pt x="5537300" y="4927340"/>
                </a:lnTo>
                <a:lnTo>
                  <a:pt x="5537300" y="3641129"/>
                </a:lnTo>
                <a:lnTo>
                  <a:pt x="5165282" y="3427656"/>
                </a:lnTo>
                <a:lnTo>
                  <a:pt x="5165282" y="2148160"/>
                </a:lnTo>
                <a:lnTo>
                  <a:pt x="4793264" y="1934686"/>
                </a:lnTo>
                <a:lnTo>
                  <a:pt x="4793264" y="1502369"/>
                </a:lnTo>
                <a:lnTo>
                  <a:pt x="4431989" y="1292924"/>
                </a:lnTo>
                <a:lnTo>
                  <a:pt x="4431989" y="857921"/>
                </a:lnTo>
                <a:close/>
                <a:moveTo>
                  <a:pt x="0" y="0"/>
                </a:moveTo>
                <a:lnTo>
                  <a:pt x="735979" y="0"/>
                </a:lnTo>
                <a:lnTo>
                  <a:pt x="738666" y="0"/>
                </a:lnTo>
                <a:lnTo>
                  <a:pt x="738666" y="1287553"/>
                </a:lnTo>
                <a:lnTo>
                  <a:pt x="367990" y="1499684"/>
                </a:lnTo>
                <a:lnTo>
                  <a:pt x="367990" y="1927973"/>
                </a:lnTo>
                <a:lnTo>
                  <a:pt x="735979" y="2141447"/>
                </a:lnTo>
                <a:lnTo>
                  <a:pt x="735979" y="2573764"/>
                </a:lnTo>
                <a:lnTo>
                  <a:pt x="1107998" y="2789922"/>
                </a:lnTo>
                <a:lnTo>
                  <a:pt x="1107998" y="5783919"/>
                </a:lnTo>
                <a:lnTo>
                  <a:pt x="367990" y="6216236"/>
                </a:lnTo>
                <a:lnTo>
                  <a:pt x="367990" y="6641840"/>
                </a:lnTo>
                <a:lnTo>
                  <a:pt x="738666" y="6425681"/>
                </a:lnTo>
                <a:lnTo>
                  <a:pt x="738666" y="6857998"/>
                </a:lnTo>
                <a:lnTo>
                  <a:pt x="0" y="6857998"/>
                </a:lnTo>
                <a:lnTo>
                  <a:pt x="0" y="4717894"/>
                </a:lnTo>
                <a:lnTo>
                  <a:pt x="365304" y="4504421"/>
                </a:lnTo>
                <a:lnTo>
                  <a:pt x="0" y="4292290"/>
                </a:lnTo>
                <a:lnTo>
                  <a:pt x="0" y="4285577"/>
                </a:ln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pPr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3" name="Freeform 7"/>
          <p:cNvSpPr>
            <a:spLocks/>
          </p:cNvSpPr>
          <p:nvPr userDrawn="1"/>
        </p:nvSpPr>
        <p:spPr bwMode="auto">
          <a:xfrm>
            <a:off x="6275966" y="3643816"/>
            <a:ext cx="365303" cy="428290"/>
          </a:xfrm>
          <a:custGeom>
            <a:avLst/>
            <a:gdLst>
              <a:gd name="T0" fmla="*/ 0 w 272"/>
              <a:gd name="T1" fmla="*/ 319 h 319"/>
              <a:gd name="T2" fmla="*/ 0 w 272"/>
              <a:gd name="T3" fmla="*/ 0 h 319"/>
              <a:gd name="T4" fmla="*/ 272 w 272"/>
              <a:gd name="T5" fmla="*/ 161 h 319"/>
              <a:gd name="T6" fmla="*/ 0 w 272"/>
              <a:gd name="T7" fmla="*/ 319 h 319"/>
            </a:gdLst>
            <a:ahLst/>
            <a:cxnLst>
              <a:cxn ang="0">
                <a:pos x="T0" y="T1"/>
              </a:cxn>
              <a:cxn ang="0">
                <a:pos x="T2" y="T3"/>
              </a:cxn>
              <a:cxn ang="0">
                <a:pos x="T4" y="T5"/>
              </a:cxn>
              <a:cxn ang="0">
                <a:pos x="T6" y="T7"/>
              </a:cxn>
            </a:cxnLst>
            <a:rect l="0" t="0" r="r" b="b"/>
            <a:pathLst>
              <a:path w="272" h="319">
                <a:moveTo>
                  <a:pt x="0" y="319"/>
                </a:moveTo>
                <a:lnTo>
                  <a:pt x="0" y="0"/>
                </a:lnTo>
                <a:lnTo>
                  <a:pt x="272" y="161"/>
                </a:lnTo>
                <a:lnTo>
                  <a:pt x="0" y="319"/>
                </a:lnTo>
                <a:close/>
              </a:path>
            </a:pathLst>
          </a:custGeom>
          <a:gradFill>
            <a:gsLst>
              <a:gs pos="0">
                <a:srgbClr val="EB6139"/>
              </a:gs>
              <a:gs pos="100000">
                <a:srgbClr val="D95D3E"/>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4" name="Freeform 8"/>
          <p:cNvSpPr>
            <a:spLocks/>
          </p:cNvSpPr>
          <p:nvPr userDrawn="1"/>
        </p:nvSpPr>
        <p:spPr bwMode="auto">
          <a:xfrm>
            <a:off x="5542673" y="2789922"/>
            <a:ext cx="365303" cy="425605"/>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F7437"/>
              </a:gs>
              <a:gs pos="100000">
                <a:srgbClr val="FF6C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5" name="Freeform 9"/>
          <p:cNvSpPr>
            <a:spLocks/>
          </p:cNvSpPr>
          <p:nvPr userDrawn="1"/>
        </p:nvSpPr>
        <p:spPr bwMode="auto">
          <a:xfrm>
            <a:off x="5539987" y="5783919"/>
            <a:ext cx="365303" cy="425605"/>
          </a:xfrm>
          <a:custGeom>
            <a:avLst/>
            <a:gdLst>
              <a:gd name="T0" fmla="*/ 0 w 272"/>
              <a:gd name="T1" fmla="*/ 317 h 317"/>
              <a:gd name="T2" fmla="*/ 0 w 272"/>
              <a:gd name="T3" fmla="*/ 0 h 317"/>
              <a:gd name="T4" fmla="*/ 272 w 272"/>
              <a:gd name="T5" fmla="*/ 159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9"/>
                </a:lnTo>
                <a:lnTo>
                  <a:pt x="0" y="317"/>
                </a:lnTo>
                <a:close/>
              </a:path>
            </a:pathLst>
          </a:custGeom>
          <a:gradFill>
            <a:gsLst>
              <a:gs pos="0">
                <a:srgbClr val="66425F"/>
              </a:gs>
              <a:gs pos="100000">
                <a:srgbClr val="513E64"/>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6" name="Freeform 12"/>
          <p:cNvSpPr>
            <a:spLocks/>
          </p:cNvSpPr>
          <p:nvPr userDrawn="1"/>
        </p:nvSpPr>
        <p:spPr bwMode="auto">
          <a:xfrm>
            <a:off x="367989" y="2369689"/>
            <a:ext cx="367989" cy="848523"/>
          </a:xfrm>
          <a:custGeom>
            <a:avLst/>
            <a:gdLst>
              <a:gd name="T0" fmla="*/ 2 w 274"/>
              <a:gd name="T1" fmla="*/ 0 h 632"/>
              <a:gd name="T2" fmla="*/ 0 w 274"/>
              <a:gd name="T3" fmla="*/ 317 h 632"/>
              <a:gd name="T4" fmla="*/ 0 w 274"/>
              <a:gd name="T5" fmla="*/ 632 h 632"/>
              <a:gd name="T6" fmla="*/ 274 w 274"/>
              <a:gd name="T7" fmla="*/ 471 h 632"/>
              <a:gd name="T8" fmla="*/ 274 w 274"/>
              <a:gd name="T9" fmla="*/ 156 h 632"/>
              <a:gd name="T10" fmla="*/ 2 w 274"/>
              <a:gd name="T11" fmla="*/ 0 h 632"/>
            </a:gdLst>
            <a:ahLst/>
            <a:cxnLst>
              <a:cxn ang="0">
                <a:pos x="T0" y="T1"/>
              </a:cxn>
              <a:cxn ang="0">
                <a:pos x="T2" y="T3"/>
              </a:cxn>
              <a:cxn ang="0">
                <a:pos x="T4" y="T5"/>
              </a:cxn>
              <a:cxn ang="0">
                <a:pos x="T6" y="T7"/>
              </a:cxn>
              <a:cxn ang="0">
                <a:pos x="T8" y="T9"/>
              </a:cxn>
              <a:cxn ang="0">
                <a:pos x="T10" y="T11"/>
              </a:cxn>
            </a:cxnLst>
            <a:rect l="0" t="0" r="r" b="b"/>
            <a:pathLst>
              <a:path w="274" h="632">
                <a:moveTo>
                  <a:pt x="2" y="0"/>
                </a:moveTo>
                <a:lnTo>
                  <a:pt x="0" y="317"/>
                </a:lnTo>
                <a:lnTo>
                  <a:pt x="0" y="632"/>
                </a:lnTo>
                <a:lnTo>
                  <a:pt x="274" y="471"/>
                </a:lnTo>
                <a:lnTo>
                  <a:pt x="274" y="156"/>
                </a:lnTo>
                <a:lnTo>
                  <a:pt x="2" y="0"/>
                </a:lnTo>
                <a:close/>
              </a:path>
            </a:pathLst>
          </a:custGeom>
          <a:gradFill>
            <a:gsLst>
              <a:gs pos="0">
                <a:srgbClr val="FE7D37"/>
              </a:gs>
              <a:gs pos="100000">
                <a:srgbClr val="FF6D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7" name="Freeform 13"/>
          <p:cNvSpPr>
            <a:spLocks/>
          </p:cNvSpPr>
          <p:nvPr userDrawn="1"/>
        </p:nvSpPr>
        <p:spPr bwMode="auto">
          <a:xfrm>
            <a:off x="367989" y="4927341"/>
            <a:ext cx="367989" cy="847181"/>
          </a:xfrm>
          <a:custGeom>
            <a:avLst/>
            <a:gdLst>
              <a:gd name="T0" fmla="*/ 2 w 274"/>
              <a:gd name="T1" fmla="*/ 0 h 631"/>
              <a:gd name="T2" fmla="*/ 0 w 274"/>
              <a:gd name="T3" fmla="*/ 314 h 631"/>
              <a:gd name="T4" fmla="*/ 0 w 274"/>
              <a:gd name="T5" fmla="*/ 631 h 631"/>
              <a:gd name="T6" fmla="*/ 274 w 274"/>
              <a:gd name="T7" fmla="*/ 471 h 631"/>
              <a:gd name="T8" fmla="*/ 274 w 274"/>
              <a:gd name="T9" fmla="*/ 156 h 631"/>
              <a:gd name="T10" fmla="*/ 2 w 274"/>
              <a:gd name="T11" fmla="*/ 0 h 631"/>
            </a:gdLst>
            <a:ahLst/>
            <a:cxnLst>
              <a:cxn ang="0">
                <a:pos x="T0" y="T1"/>
              </a:cxn>
              <a:cxn ang="0">
                <a:pos x="T2" y="T3"/>
              </a:cxn>
              <a:cxn ang="0">
                <a:pos x="T4" y="T5"/>
              </a:cxn>
              <a:cxn ang="0">
                <a:pos x="T6" y="T7"/>
              </a:cxn>
              <a:cxn ang="0">
                <a:pos x="T8" y="T9"/>
              </a:cxn>
              <a:cxn ang="0">
                <a:pos x="T10" y="T11"/>
              </a:cxn>
            </a:cxnLst>
            <a:rect l="0" t="0" r="r" b="b"/>
            <a:pathLst>
              <a:path w="274" h="631">
                <a:moveTo>
                  <a:pt x="2" y="0"/>
                </a:moveTo>
                <a:lnTo>
                  <a:pt x="0" y="314"/>
                </a:lnTo>
                <a:lnTo>
                  <a:pt x="0" y="631"/>
                </a:lnTo>
                <a:lnTo>
                  <a:pt x="274" y="471"/>
                </a:lnTo>
                <a:lnTo>
                  <a:pt x="274" y="156"/>
                </a:lnTo>
                <a:lnTo>
                  <a:pt x="2" y="0"/>
                </a:lnTo>
                <a:close/>
              </a:path>
            </a:pathLst>
          </a:custGeom>
          <a:gradFill>
            <a:gsLst>
              <a:gs pos="0">
                <a:srgbClr val="994E50"/>
              </a:gs>
              <a:gs pos="100000">
                <a:srgbClr val="7D5B71"/>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8" name="Freeform 14"/>
          <p:cNvSpPr>
            <a:spLocks/>
          </p:cNvSpPr>
          <p:nvPr userDrawn="1"/>
        </p:nvSpPr>
        <p:spPr bwMode="auto">
          <a:xfrm>
            <a:off x="5546702" y="3859974"/>
            <a:ext cx="729264" cy="1286210"/>
          </a:xfrm>
          <a:custGeom>
            <a:avLst/>
            <a:gdLst>
              <a:gd name="T0" fmla="*/ 543 w 543"/>
              <a:gd name="T1" fmla="*/ 799 h 958"/>
              <a:gd name="T2" fmla="*/ 543 w 543"/>
              <a:gd name="T3" fmla="*/ 158 h 958"/>
              <a:gd name="T4" fmla="*/ 272 w 543"/>
              <a:gd name="T5" fmla="*/ 0 h 958"/>
              <a:gd name="T6" fmla="*/ 272 w 543"/>
              <a:gd name="T7" fmla="*/ 641 h 958"/>
              <a:gd name="T8" fmla="*/ 0 w 543"/>
              <a:gd name="T9" fmla="*/ 799 h 958"/>
              <a:gd name="T10" fmla="*/ 272 w 543"/>
              <a:gd name="T11" fmla="*/ 958 h 958"/>
              <a:gd name="T12" fmla="*/ 543 w 543"/>
              <a:gd name="T13" fmla="*/ 799 h 958"/>
            </a:gdLst>
            <a:ahLst/>
            <a:cxnLst>
              <a:cxn ang="0">
                <a:pos x="T0" y="T1"/>
              </a:cxn>
              <a:cxn ang="0">
                <a:pos x="T2" y="T3"/>
              </a:cxn>
              <a:cxn ang="0">
                <a:pos x="T4" y="T5"/>
              </a:cxn>
              <a:cxn ang="0">
                <a:pos x="T6" y="T7"/>
              </a:cxn>
              <a:cxn ang="0">
                <a:pos x="T8" y="T9"/>
              </a:cxn>
              <a:cxn ang="0">
                <a:pos x="T10" y="T11"/>
              </a:cxn>
              <a:cxn ang="0">
                <a:pos x="T12" y="T13"/>
              </a:cxn>
            </a:cxnLst>
            <a:rect l="0" t="0" r="r" b="b"/>
            <a:pathLst>
              <a:path w="543" h="958">
                <a:moveTo>
                  <a:pt x="543" y="799"/>
                </a:moveTo>
                <a:lnTo>
                  <a:pt x="543" y="158"/>
                </a:lnTo>
                <a:lnTo>
                  <a:pt x="272" y="0"/>
                </a:lnTo>
                <a:lnTo>
                  <a:pt x="272" y="641"/>
                </a:lnTo>
                <a:lnTo>
                  <a:pt x="0" y="799"/>
                </a:lnTo>
                <a:lnTo>
                  <a:pt x="272" y="958"/>
                </a:lnTo>
                <a:lnTo>
                  <a:pt x="543" y="799"/>
                </a:lnTo>
                <a:close/>
              </a:path>
            </a:pathLst>
          </a:custGeom>
          <a:gradFill>
            <a:gsLst>
              <a:gs pos="0">
                <a:srgbClr val="DC5E3D"/>
              </a:gs>
              <a:gs pos="100000">
                <a:srgbClr val="964E51"/>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 name="Freeform 15"/>
          <p:cNvSpPr>
            <a:spLocks/>
          </p:cNvSpPr>
          <p:nvPr userDrawn="1"/>
        </p:nvSpPr>
        <p:spPr bwMode="auto">
          <a:xfrm>
            <a:off x="5546702" y="1715842"/>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FE8F3D"/>
              </a:gs>
              <a:gs pos="100000">
                <a:srgbClr val="FE883D"/>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0" name="Freeform 16"/>
          <p:cNvSpPr>
            <a:spLocks/>
          </p:cNvSpPr>
          <p:nvPr userDrawn="1"/>
        </p:nvSpPr>
        <p:spPr bwMode="auto">
          <a:xfrm>
            <a:off x="742694" y="1502369"/>
            <a:ext cx="365303" cy="429632"/>
          </a:xfrm>
          <a:custGeom>
            <a:avLst/>
            <a:gdLst>
              <a:gd name="T0" fmla="*/ 272 w 272"/>
              <a:gd name="T1" fmla="*/ 320 h 320"/>
              <a:gd name="T2" fmla="*/ 0 w 272"/>
              <a:gd name="T3" fmla="*/ 161 h 320"/>
              <a:gd name="T4" fmla="*/ 272 w 272"/>
              <a:gd name="T5" fmla="*/ 0 h 320"/>
              <a:gd name="T6" fmla="*/ 272 w 272"/>
              <a:gd name="T7" fmla="*/ 320 h 320"/>
            </a:gdLst>
            <a:ahLst/>
            <a:cxnLst>
              <a:cxn ang="0">
                <a:pos x="T0" y="T1"/>
              </a:cxn>
              <a:cxn ang="0">
                <a:pos x="T2" y="T3"/>
              </a:cxn>
              <a:cxn ang="0">
                <a:pos x="T4" y="T5"/>
              </a:cxn>
              <a:cxn ang="0">
                <a:pos x="T6" y="T7"/>
              </a:cxn>
            </a:cxnLst>
            <a:rect l="0" t="0" r="r" b="b"/>
            <a:pathLst>
              <a:path w="272" h="320">
                <a:moveTo>
                  <a:pt x="272" y="320"/>
                </a:moveTo>
                <a:lnTo>
                  <a:pt x="0" y="161"/>
                </a:lnTo>
                <a:lnTo>
                  <a:pt x="272" y="0"/>
                </a:lnTo>
                <a:lnTo>
                  <a:pt x="272" y="320"/>
                </a:lnTo>
                <a:close/>
              </a:path>
            </a:pathLst>
          </a:custGeom>
          <a:gradFill>
            <a:gsLst>
              <a:gs pos="0">
                <a:srgbClr val="FE9541"/>
              </a:gs>
              <a:gs pos="100000">
                <a:srgbClr val="FE8E3F"/>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 name="Freeform 17"/>
          <p:cNvSpPr>
            <a:spLocks/>
          </p:cNvSpPr>
          <p:nvPr userDrawn="1"/>
        </p:nvSpPr>
        <p:spPr bwMode="auto">
          <a:xfrm>
            <a:off x="1475987" y="2573764"/>
            <a:ext cx="365303" cy="425605"/>
          </a:xfrm>
          <a:custGeom>
            <a:avLst/>
            <a:gdLst>
              <a:gd name="T0" fmla="*/ 0 w 272"/>
              <a:gd name="T1" fmla="*/ 317 h 317"/>
              <a:gd name="T2" fmla="*/ 272 w 272"/>
              <a:gd name="T3" fmla="*/ 158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8"/>
                </a:lnTo>
                <a:lnTo>
                  <a:pt x="0" y="0"/>
                </a:lnTo>
                <a:lnTo>
                  <a:pt x="0" y="317"/>
                </a:lnTo>
                <a:close/>
              </a:path>
            </a:pathLst>
          </a:custGeom>
          <a:gradFill>
            <a:gsLst>
              <a:gs pos="0">
                <a:srgbClr val="FF7B3A"/>
              </a:gs>
              <a:gs pos="100000">
                <a:srgbClr val="FF763A"/>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2" name="Freeform 18"/>
          <p:cNvSpPr>
            <a:spLocks/>
          </p:cNvSpPr>
          <p:nvPr userDrawn="1"/>
        </p:nvSpPr>
        <p:spPr bwMode="auto">
          <a:xfrm>
            <a:off x="4806694" y="4072105"/>
            <a:ext cx="365303" cy="425605"/>
          </a:xfrm>
          <a:custGeom>
            <a:avLst/>
            <a:gdLst>
              <a:gd name="T0" fmla="*/ 0 w 272"/>
              <a:gd name="T1" fmla="*/ 317 h 317"/>
              <a:gd name="T2" fmla="*/ 272 w 272"/>
              <a:gd name="T3" fmla="*/ 159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9"/>
                </a:lnTo>
                <a:lnTo>
                  <a:pt x="0" y="0"/>
                </a:lnTo>
                <a:lnTo>
                  <a:pt x="0" y="317"/>
                </a:lnTo>
                <a:close/>
              </a:path>
            </a:pathLst>
          </a:custGeom>
          <a:gradFill>
            <a:gsLst>
              <a:gs pos="0">
                <a:srgbClr val="D05B40"/>
              </a:gs>
              <a:gs pos="100000">
                <a:srgbClr val="BE5F4F"/>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3" name="Freeform 19"/>
          <p:cNvSpPr>
            <a:spLocks/>
          </p:cNvSpPr>
          <p:nvPr userDrawn="1"/>
        </p:nvSpPr>
        <p:spPr bwMode="auto">
          <a:xfrm>
            <a:off x="4429303" y="4717895"/>
            <a:ext cx="363961" cy="425605"/>
          </a:xfrm>
          <a:custGeom>
            <a:avLst/>
            <a:gdLst>
              <a:gd name="T0" fmla="*/ 0 w 271"/>
              <a:gd name="T1" fmla="*/ 317 h 317"/>
              <a:gd name="T2" fmla="*/ 271 w 271"/>
              <a:gd name="T3" fmla="*/ 158 h 317"/>
              <a:gd name="T4" fmla="*/ 0 w 271"/>
              <a:gd name="T5" fmla="*/ 0 h 317"/>
              <a:gd name="T6" fmla="*/ 0 w 271"/>
              <a:gd name="T7" fmla="*/ 317 h 317"/>
            </a:gdLst>
            <a:ahLst/>
            <a:cxnLst>
              <a:cxn ang="0">
                <a:pos x="T0" y="T1"/>
              </a:cxn>
              <a:cxn ang="0">
                <a:pos x="T2" y="T3"/>
              </a:cxn>
              <a:cxn ang="0">
                <a:pos x="T4" y="T5"/>
              </a:cxn>
              <a:cxn ang="0">
                <a:pos x="T6" y="T7"/>
              </a:cxn>
            </a:cxnLst>
            <a:rect l="0" t="0" r="r" b="b"/>
            <a:pathLst>
              <a:path w="271" h="317">
                <a:moveTo>
                  <a:pt x="0" y="317"/>
                </a:moveTo>
                <a:lnTo>
                  <a:pt x="271" y="158"/>
                </a:lnTo>
                <a:lnTo>
                  <a:pt x="0" y="0"/>
                </a:lnTo>
                <a:lnTo>
                  <a:pt x="0" y="317"/>
                </a:lnTo>
                <a:close/>
              </a:path>
            </a:pathLst>
          </a:custGeom>
          <a:gradFill>
            <a:gsLst>
              <a:gs pos="0">
                <a:srgbClr val="A8524C"/>
              </a:gs>
              <a:gs pos="100000">
                <a:srgbClr val="985154"/>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Freeform 20"/>
          <p:cNvSpPr>
            <a:spLocks/>
          </p:cNvSpPr>
          <p:nvPr userDrawn="1"/>
        </p:nvSpPr>
        <p:spPr bwMode="auto">
          <a:xfrm>
            <a:off x="1117398" y="648476"/>
            <a:ext cx="365303" cy="425605"/>
          </a:xfrm>
          <a:custGeom>
            <a:avLst/>
            <a:gdLst>
              <a:gd name="T0" fmla="*/ 0 w 272"/>
              <a:gd name="T1" fmla="*/ 317 h 317"/>
              <a:gd name="T2" fmla="*/ 272 w 272"/>
              <a:gd name="T3" fmla="*/ 159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9"/>
                </a:lnTo>
                <a:lnTo>
                  <a:pt x="0" y="0"/>
                </a:lnTo>
                <a:lnTo>
                  <a:pt x="0" y="317"/>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5" name="Freeform 21"/>
          <p:cNvSpPr>
            <a:spLocks/>
          </p:cNvSpPr>
          <p:nvPr userDrawn="1"/>
        </p:nvSpPr>
        <p:spPr bwMode="auto">
          <a:xfrm>
            <a:off x="3701382" y="1074080"/>
            <a:ext cx="730607" cy="425605"/>
          </a:xfrm>
          <a:custGeom>
            <a:avLst/>
            <a:gdLst>
              <a:gd name="T0" fmla="*/ 272 w 544"/>
              <a:gd name="T1" fmla="*/ 0 h 317"/>
              <a:gd name="T2" fmla="*/ 0 w 544"/>
              <a:gd name="T3" fmla="*/ 159 h 317"/>
              <a:gd name="T4" fmla="*/ 272 w 544"/>
              <a:gd name="T5" fmla="*/ 317 h 317"/>
              <a:gd name="T6" fmla="*/ 544 w 544"/>
              <a:gd name="T7" fmla="*/ 159 h 317"/>
              <a:gd name="T8" fmla="*/ 272 w 544"/>
              <a:gd name="T9" fmla="*/ 0 h 317"/>
            </a:gdLst>
            <a:ahLst/>
            <a:cxnLst>
              <a:cxn ang="0">
                <a:pos x="T0" y="T1"/>
              </a:cxn>
              <a:cxn ang="0">
                <a:pos x="T2" y="T3"/>
              </a:cxn>
              <a:cxn ang="0">
                <a:pos x="T4" y="T5"/>
              </a:cxn>
              <a:cxn ang="0">
                <a:pos x="T6" y="T7"/>
              </a:cxn>
              <a:cxn ang="0">
                <a:pos x="T8" y="T9"/>
              </a:cxn>
            </a:cxnLst>
            <a:rect l="0" t="0" r="r" b="b"/>
            <a:pathLst>
              <a:path w="544" h="317">
                <a:moveTo>
                  <a:pt x="272" y="0"/>
                </a:moveTo>
                <a:lnTo>
                  <a:pt x="0" y="159"/>
                </a:lnTo>
                <a:lnTo>
                  <a:pt x="272" y="317"/>
                </a:lnTo>
                <a:lnTo>
                  <a:pt x="544" y="159"/>
                </a:lnTo>
                <a:lnTo>
                  <a:pt x="272" y="0"/>
                </a:lnTo>
                <a:close/>
              </a:path>
            </a:pathLst>
          </a:custGeom>
          <a:gradFill>
            <a:gsLst>
              <a:gs pos="0">
                <a:srgbClr val="FEA044"/>
              </a:gs>
              <a:gs pos="100000">
                <a:srgbClr val="FE9842"/>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6" name="Freeform 22"/>
          <p:cNvSpPr>
            <a:spLocks/>
          </p:cNvSpPr>
          <p:nvPr userDrawn="1"/>
        </p:nvSpPr>
        <p:spPr bwMode="auto">
          <a:xfrm>
            <a:off x="735979" y="4285578"/>
            <a:ext cx="365303" cy="425605"/>
          </a:xfrm>
          <a:custGeom>
            <a:avLst/>
            <a:gdLst>
              <a:gd name="T0" fmla="*/ 0 w 272"/>
              <a:gd name="T1" fmla="*/ 317 h 317"/>
              <a:gd name="T2" fmla="*/ 272 w 272"/>
              <a:gd name="T3" fmla="*/ 158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8"/>
                </a:lnTo>
                <a:lnTo>
                  <a:pt x="0" y="0"/>
                </a:lnTo>
                <a:lnTo>
                  <a:pt x="0" y="317"/>
                </a:lnTo>
                <a:close/>
              </a:path>
            </a:pathLst>
          </a:custGeom>
          <a:gradFill>
            <a:gsLst>
              <a:gs pos="0">
                <a:srgbClr val="C45844"/>
              </a:gs>
              <a:gs pos="100000">
                <a:srgbClr val="B1544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7" name="Freeform 23"/>
          <p:cNvSpPr>
            <a:spLocks/>
          </p:cNvSpPr>
          <p:nvPr userDrawn="1"/>
        </p:nvSpPr>
        <p:spPr bwMode="auto">
          <a:xfrm>
            <a:off x="4806694" y="6004106"/>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523E64"/>
              </a:gs>
              <a:gs pos="100000">
                <a:srgbClr val="413A6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8" name="Freeform 24"/>
          <p:cNvSpPr>
            <a:spLocks/>
          </p:cNvSpPr>
          <p:nvPr userDrawn="1"/>
        </p:nvSpPr>
        <p:spPr bwMode="auto">
          <a:xfrm>
            <a:off x="1107998" y="5997393"/>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523E64"/>
              </a:gs>
              <a:gs pos="100000">
                <a:srgbClr val="413A6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9" name="Freeform 25"/>
          <p:cNvSpPr>
            <a:spLocks/>
          </p:cNvSpPr>
          <p:nvPr userDrawn="1"/>
        </p:nvSpPr>
        <p:spPr bwMode="auto">
          <a:xfrm>
            <a:off x="4431989" y="0"/>
            <a:ext cx="365303" cy="639077"/>
          </a:xfrm>
          <a:custGeom>
            <a:avLst/>
            <a:gdLst>
              <a:gd name="T0" fmla="*/ 272 w 272"/>
              <a:gd name="T1" fmla="*/ 476 h 476"/>
              <a:gd name="T2" fmla="*/ 0 w 272"/>
              <a:gd name="T3" fmla="*/ 322 h 476"/>
              <a:gd name="T4" fmla="*/ 0 w 272"/>
              <a:gd name="T5" fmla="*/ 0 h 476"/>
              <a:gd name="T6" fmla="*/ 272 w 272"/>
              <a:gd name="T7" fmla="*/ 159 h 476"/>
              <a:gd name="T8" fmla="*/ 272 w 272"/>
              <a:gd name="T9" fmla="*/ 476 h 476"/>
            </a:gdLst>
            <a:ahLst/>
            <a:cxnLst>
              <a:cxn ang="0">
                <a:pos x="T0" y="T1"/>
              </a:cxn>
              <a:cxn ang="0">
                <a:pos x="T2" y="T3"/>
              </a:cxn>
              <a:cxn ang="0">
                <a:pos x="T4" y="T5"/>
              </a:cxn>
              <a:cxn ang="0">
                <a:pos x="T6" y="T7"/>
              </a:cxn>
              <a:cxn ang="0">
                <a:pos x="T8" y="T9"/>
              </a:cxn>
            </a:cxnLst>
            <a:rect l="0" t="0" r="r" b="b"/>
            <a:pathLst>
              <a:path w="272" h="476">
                <a:moveTo>
                  <a:pt x="272" y="476"/>
                </a:moveTo>
                <a:lnTo>
                  <a:pt x="0" y="322"/>
                </a:lnTo>
                <a:lnTo>
                  <a:pt x="0" y="0"/>
                </a:lnTo>
                <a:lnTo>
                  <a:pt x="272" y="159"/>
                </a:lnTo>
                <a:lnTo>
                  <a:pt x="272" y="476"/>
                </a:lnTo>
                <a:close/>
              </a:path>
            </a:pathLst>
          </a:custGeom>
          <a:gradFill>
            <a:gsLst>
              <a:gs pos="0">
                <a:srgbClr val="FDBB4C"/>
              </a:gs>
              <a:gs pos="100000">
                <a:srgbClr val="FDAE49"/>
              </a:gs>
            </a:gsLst>
            <a:lin ang="5400000" scaled="1"/>
          </a:gradFill>
          <a:ln>
            <a:noFill/>
          </a:ln>
        </p:spPr>
        <p:txBody>
          <a:bodyPr vert="horz" wrap="square" lIns="91440" tIns="45720" rIns="91440" bIns="45720" numCol="1" anchor="t" anchorCtr="0" compatLnSpc="1">
            <a:prstTxWarp prst="textNoShape">
              <a:avLst/>
            </a:prstTxWarp>
          </a:bodyPr>
          <a:lstStyle/>
          <a:p>
            <a:pPr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0" name="Freeform 27"/>
          <p:cNvSpPr>
            <a:spLocks/>
          </p:cNvSpPr>
          <p:nvPr userDrawn="1"/>
        </p:nvSpPr>
        <p:spPr bwMode="auto">
          <a:xfrm>
            <a:off x="1482702" y="436345"/>
            <a:ext cx="365303" cy="635050"/>
          </a:xfrm>
          <a:custGeom>
            <a:avLst/>
            <a:gdLst>
              <a:gd name="T0" fmla="*/ 272 w 272"/>
              <a:gd name="T1" fmla="*/ 158 h 473"/>
              <a:gd name="T2" fmla="*/ 0 w 272"/>
              <a:gd name="T3" fmla="*/ 0 h 473"/>
              <a:gd name="T4" fmla="*/ 0 w 272"/>
              <a:gd name="T5" fmla="*/ 317 h 473"/>
              <a:gd name="T6" fmla="*/ 272 w 272"/>
              <a:gd name="T7" fmla="*/ 473 h 473"/>
              <a:gd name="T8" fmla="*/ 272 w 272"/>
              <a:gd name="T9" fmla="*/ 158 h 473"/>
            </a:gdLst>
            <a:ahLst/>
            <a:cxnLst>
              <a:cxn ang="0">
                <a:pos x="T0" y="T1"/>
              </a:cxn>
              <a:cxn ang="0">
                <a:pos x="T2" y="T3"/>
              </a:cxn>
              <a:cxn ang="0">
                <a:pos x="T4" y="T5"/>
              </a:cxn>
              <a:cxn ang="0">
                <a:pos x="T6" y="T7"/>
              </a:cxn>
              <a:cxn ang="0">
                <a:pos x="T8" y="T9"/>
              </a:cxn>
            </a:cxnLst>
            <a:rect l="0" t="0" r="r" b="b"/>
            <a:pathLst>
              <a:path w="272" h="473">
                <a:moveTo>
                  <a:pt x="272" y="158"/>
                </a:moveTo>
                <a:lnTo>
                  <a:pt x="0" y="0"/>
                </a:lnTo>
                <a:lnTo>
                  <a:pt x="0" y="317"/>
                </a:lnTo>
                <a:lnTo>
                  <a:pt x="272" y="473"/>
                </a:lnTo>
                <a:lnTo>
                  <a:pt x="272" y="158"/>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1" name="Freeform 28"/>
          <p:cNvSpPr>
            <a:spLocks/>
          </p:cNvSpPr>
          <p:nvPr userDrawn="1"/>
        </p:nvSpPr>
        <p:spPr bwMode="auto">
          <a:xfrm>
            <a:off x="5171997" y="648476"/>
            <a:ext cx="729264" cy="641763"/>
          </a:xfrm>
          <a:custGeom>
            <a:avLst/>
            <a:gdLst>
              <a:gd name="T0" fmla="*/ 272 w 543"/>
              <a:gd name="T1" fmla="*/ 0 h 478"/>
              <a:gd name="T2" fmla="*/ 0 w 543"/>
              <a:gd name="T3" fmla="*/ 159 h 478"/>
              <a:gd name="T4" fmla="*/ 0 w 543"/>
              <a:gd name="T5" fmla="*/ 478 h 478"/>
              <a:gd name="T6" fmla="*/ 272 w 543"/>
              <a:gd name="T7" fmla="*/ 319 h 478"/>
              <a:gd name="T8" fmla="*/ 543 w 543"/>
              <a:gd name="T9" fmla="*/ 159 h 478"/>
              <a:gd name="T10" fmla="*/ 272 w 543"/>
              <a:gd name="T11" fmla="*/ 0 h 478"/>
            </a:gdLst>
            <a:ahLst/>
            <a:cxnLst>
              <a:cxn ang="0">
                <a:pos x="T0" y="T1"/>
              </a:cxn>
              <a:cxn ang="0">
                <a:pos x="T2" y="T3"/>
              </a:cxn>
              <a:cxn ang="0">
                <a:pos x="T4" y="T5"/>
              </a:cxn>
              <a:cxn ang="0">
                <a:pos x="T6" y="T7"/>
              </a:cxn>
              <a:cxn ang="0">
                <a:pos x="T8" y="T9"/>
              </a:cxn>
              <a:cxn ang="0">
                <a:pos x="T10" y="T11"/>
              </a:cxn>
            </a:cxnLst>
            <a:rect l="0" t="0" r="r" b="b"/>
            <a:pathLst>
              <a:path w="543" h="478">
                <a:moveTo>
                  <a:pt x="272" y="0"/>
                </a:moveTo>
                <a:lnTo>
                  <a:pt x="0" y="159"/>
                </a:lnTo>
                <a:lnTo>
                  <a:pt x="0" y="478"/>
                </a:lnTo>
                <a:lnTo>
                  <a:pt x="272" y="319"/>
                </a:lnTo>
                <a:lnTo>
                  <a:pt x="543" y="159"/>
                </a:lnTo>
                <a:lnTo>
                  <a:pt x="272" y="0"/>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2" name="Freeform 29"/>
          <p:cNvSpPr>
            <a:spLocks/>
          </p:cNvSpPr>
          <p:nvPr userDrawn="1"/>
        </p:nvSpPr>
        <p:spPr bwMode="auto">
          <a:xfrm>
            <a:off x="4066686" y="2360290"/>
            <a:ext cx="730607" cy="641763"/>
          </a:xfrm>
          <a:custGeom>
            <a:avLst/>
            <a:gdLst>
              <a:gd name="T0" fmla="*/ 272 w 544"/>
              <a:gd name="T1" fmla="*/ 478 h 478"/>
              <a:gd name="T2" fmla="*/ 0 w 544"/>
              <a:gd name="T3" fmla="*/ 320 h 478"/>
              <a:gd name="T4" fmla="*/ 0 w 544"/>
              <a:gd name="T5" fmla="*/ 0 h 478"/>
              <a:gd name="T6" fmla="*/ 272 w 544"/>
              <a:gd name="T7" fmla="*/ 159 h 478"/>
              <a:gd name="T8" fmla="*/ 544 w 544"/>
              <a:gd name="T9" fmla="*/ 320 h 478"/>
              <a:gd name="T10" fmla="*/ 272 w 544"/>
              <a:gd name="T11" fmla="*/ 478 h 478"/>
            </a:gdLst>
            <a:ahLst/>
            <a:cxnLst>
              <a:cxn ang="0">
                <a:pos x="T0" y="T1"/>
              </a:cxn>
              <a:cxn ang="0">
                <a:pos x="T2" y="T3"/>
              </a:cxn>
              <a:cxn ang="0">
                <a:pos x="T4" y="T5"/>
              </a:cxn>
              <a:cxn ang="0">
                <a:pos x="T6" y="T7"/>
              </a:cxn>
              <a:cxn ang="0">
                <a:pos x="T8" y="T9"/>
              </a:cxn>
              <a:cxn ang="0">
                <a:pos x="T10" y="T11"/>
              </a:cxn>
            </a:cxnLst>
            <a:rect l="0" t="0" r="r" b="b"/>
            <a:pathLst>
              <a:path w="544" h="478">
                <a:moveTo>
                  <a:pt x="272" y="478"/>
                </a:moveTo>
                <a:lnTo>
                  <a:pt x="0" y="320"/>
                </a:lnTo>
                <a:lnTo>
                  <a:pt x="0" y="0"/>
                </a:lnTo>
                <a:lnTo>
                  <a:pt x="272" y="159"/>
                </a:lnTo>
                <a:lnTo>
                  <a:pt x="544" y="320"/>
                </a:lnTo>
                <a:lnTo>
                  <a:pt x="272" y="478"/>
                </a:lnTo>
                <a:close/>
              </a:path>
            </a:pathLst>
          </a:custGeom>
          <a:gradFill>
            <a:gsLst>
              <a:gs pos="0">
                <a:srgbClr val="FE7F3A"/>
              </a:gs>
              <a:gs pos="100000">
                <a:srgbClr val="FF6D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3" name="Picture Placeholder 37">
            <a:extLst>
              <a:ext uri="{FF2B5EF4-FFF2-40B4-BE49-F238E27FC236}">
                <a16:creationId xmlns:a16="http://schemas.microsoft.com/office/drawing/2014/main" id="{B27FB25A-25C1-1145-91A1-08CB3FC40AE3}"/>
              </a:ext>
            </a:extLst>
          </p:cNvPr>
          <p:cNvSpPr>
            <a:spLocks noGrp="1"/>
          </p:cNvSpPr>
          <p:nvPr>
            <p:ph type="pic" sz="quarter" idx="10"/>
          </p:nvPr>
        </p:nvSpPr>
        <p:spPr>
          <a:xfrm>
            <a:off x="2" y="0"/>
            <a:ext cx="7121235" cy="6857999"/>
          </a:xfrm>
          <a:custGeom>
            <a:avLst/>
            <a:gdLst>
              <a:gd name="connsiteX0" fmla="*/ 1467955 w 7121235"/>
              <a:gd name="connsiteY0" fmla="*/ 6003620 h 6857999"/>
              <a:gd name="connsiteX1" fmla="*/ 1113343 w 7121235"/>
              <a:gd name="connsiteY1" fmla="*/ 6209544 h 6857999"/>
              <a:gd name="connsiteX2" fmla="*/ 1467955 w 7121235"/>
              <a:gd name="connsiteY2" fmla="*/ 6416770 h 6857999"/>
              <a:gd name="connsiteX3" fmla="*/ 4431990 w 7121235"/>
              <a:gd name="connsiteY3" fmla="*/ 5571788 h 6857999"/>
              <a:gd name="connsiteX4" fmla="*/ 4797292 w 7121235"/>
              <a:gd name="connsiteY4" fmla="*/ 5783919 h 6857999"/>
              <a:gd name="connsiteX5" fmla="*/ 4431990 w 7121235"/>
              <a:gd name="connsiteY5" fmla="*/ 5997393 h 6857999"/>
              <a:gd name="connsiteX6" fmla="*/ 370677 w 7121235"/>
              <a:gd name="connsiteY6" fmla="*/ 4927340 h 6857999"/>
              <a:gd name="connsiteX7" fmla="*/ 370677 w 7121235"/>
              <a:gd name="connsiteY7" fmla="*/ 5352945 h 6857999"/>
              <a:gd name="connsiteX8" fmla="*/ 2688 w 7121235"/>
              <a:gd name="connsiteY8" fmla="*/ 5139471 h 6857999"/>
              <a:gd name="connsiteX9" fmla="*/ 4434628 w 7121235"/>
              <a:gd name="connsiteY9" fmla="*/ 4724122 h 6857999"/>
              <a:gd name="connsiteX10" fmla="*/ 4434628 w 7121235"/>
              <a:gd name="connsiteY10" fmla="*/ 5137272 h 6857999"/>
              <a:gd name="connsiteX11" fmla="*/ 4787938 w 7121235"/>
              <a:gd name="connsiteY11" fmla="*/ 4930046 h 6857999"/>
              <a:gd name="connsiteX12" fmla="*/ 4812039 w 7121235"/>
              <a:gd name="connsiteY12" fmla="*/ 4078332 h 6857999"/>
              <a:gd name="connsiteX13" fmla="*/ 4812039 w 7121235"/>
              <a:gd name="connsiteY13" fmla="*/ 4491482 h 6857999"/>
              <a:gd name="connsiteX14" fmla="*/ 5166651 w 7121235"/>
              <a:gd name="connsiteY14" fmla="*/ 4285559 h 6857999"/>
              <a:gd name="connsiteX15" fmla="*/ 6275966 w 7121235"/>
              <a:gd name="connsiteY15" fmla="*/ 3218212 h 6857999"/>
              <a:gd name="connsiteX16" fmla="*/ 6275966 w 7121235"/>
              <a:gd name="connsiteY16" fmla="*/ 3643816 h 6857999"/>
              <a:gd name="connsiteX17" fmla="*/ 5912006 w 7121235"/>
              <a:gd name="connsiteY17" fmla="*/ 3430342 h 6857999"/>
              <a:gd name="connsiteX18" fmla="*/ 370677 w 7121235"/>
              <a:gd name="connsiteY18" fmla="*/ 3218212 h 6857999"/>
              <a:gd name="connsiteX19" fmla="*/ 735980 w 7121235"/>
              <a:gd name="connsiteY19" fmla="*/ 3430342 h 6857999"/>
              <a:gd name="connsiteX20" fmla="*/ 735980 w 7121235"/>
              <a:gd name="connsiteY20" fmla="*/ 4285578 h 6857999"/>
              <a:gd name="connsiteX21" fmla="*/ 370677 w 7121235"/>
              <a:gd name="connsiteY21" fmla="*/ 4076133 h 6857999"/>
              <a:gd name="connsiteX22" fmla="*/ 1481333 w 7121235"/>
              <a:gd name="connsiteY22" fmla="*/ 2579992 h 6857999"/>
              <a:gd name="connsiteX23" fmla="*/ 1481333 w 7121235"/>
              <a:gd name="connsiteY23" fmla="*/ 2993142 h 6857999"/>
              <a:gd name="connsiteX24" fmla="*/ 1835945 w 7121235"/>
              <a:gd name="connsiteY24" fmla="*/ 2785915 h 6857999"/>
              <a:gd name="connsiteX25" fmla="*/ 4077377 w 7121235"/>
              <a:gd name="connsiteY25" fmla="*/ 2369681 h 6857999"/>
              <a:gd name="connsiteX26" fmla="*/ 4077377 w 7121235"/>
              <a:gd name="connsiteY26" fmla="*/ 2786739 h 6857999"/>
              <a:gd name="connsiteX27" fmla="*/ 4431989 w 7121235"/>
              <a:gd name="connsiteY27" fmla="*/ 2992661 h 6857999"/>
              <a:gd name="connsiteX28" fmla="*/ 4786601 w 7121235"/>
              <a:gd name="connsiteY28" fmla="*/ 2786739 h 6857999"/>
              <a:gd name="connsiteX29" fmla="*/ 4431989 w 7121235"/>
              <a:gd name="connsiteY29" fmla="*/ 2576907 h 6857999"/>
              <a:gd name="connsiteX30" fmla="*/ 1102652 w 7121235"/>
              <a:gd name="connsiteY30" fmla="*/ 1508656 h 6857999"/>
              <a:gd name="connsiteX31" fmla="*/ 748040 w 7121235"/>
              <a:gd name="connsiteY31" fmla="*/ 1718488 h 6857999"/>
              <a:gd name="connsiteX32" fmla="*/ 1102652 w 7121235"/>
              <a:gd name="connsiteY32" fmla="*/ 1925714 h 6857999"/>
              <a:gd name="connsiteX33" fmla="*/ 5171998 w 7121235"/>
              <a:gd name="connsiteY33" fmla="*/ 1290240 h 6857999"/>
              <a:gd name="connsiteX34" fmla="*/ 5537301 w 7121235"/>
              <a:gd name="connsiteY34" fmla="*/ 1502371 h 6857999"/>
              <a:gd name="connsiteX35" fmla="*/ 5171998 w 7121235"/>
              <a:gd name="connsiteY35" fmla="*/ 1715844 h 6857999"/>
              <a:gd name="connsiteX36" fmla="*/ 4066685 w 7121235"/>
              <a:gd name="connsiteY36" fmla="*/ 1080308 h 6857999"/>
              <a:gd name="connsiteX37" fmla="*/ 3712073 w 7121235"/>
              <a:gd name="connsiteY37" fmla="*/ 1287534 h 6857999"/>
              <a:gd name="connsiteX38" fmla="*/ 4066685 w 7121235"/>
              <a:gd name="connsiteY38" fmla="*/ 1493458 h 6857999"/>
              <a:gd name="connsiteX39" fmla="*/ 4421297 w 7121235"/>
              <a:gd name="connsiteY39" fmla="*/ 1287534 h 6857999"/>
              <a:gd name="connsiteX40" fmla="*/ 1122744 w 7121235"/>
              <a:gd name="connsiteY40" fmla="*/ 654703 h 6857999"/>
              <a:gd name="connsiteX41" fmla="*/ 1122744 w 7121235"/>
              <a:gd name="connsiteY41" fmla="*/ 1067854 h 6857999"/>
              <a:gd name="connsiteX42" fmla="*/ 1477356 w 7121235"/>
              <a:gd name="connsiteY42" fmla="*/ 861930 h 6857999"/>
              <a:gd name="connsiteX43" fmla="*/ 370677 w 7121235"/>
              <a:gd name="connsiteY43" fmla="*/ 645792 h 6857999"/>
              <a:gd name="connsiteX44" fmla="*/ 735980 w 7121235"/>
              <a:gd name="connsiteY44" fmla="*/ 857923 h 6857999"/>
              <a:gd name="connsiteX45" fmla="*/ 370677 w 7121235"/>
              <a:gd name="connsiteY45" fmla="*/ 1071397 h 6857999"/>
              <a:gd name="connsiteX46" fmla="*/ 1488047 w 7121235"/>
              <a:gd name="connsiteY46" fmla="*/ 445638 h 6857999"/>
              <a:gd name="connsiteX47" fmla="*/ 1488047 w 7121235"/>
              <a:gd name="connsiteY47" fmla="*/ 858785 h 6857999"/>
              <a:gd name="connsiteX48" fmla="*/ 1842659 w 7121235"/>
              <a:gd name="connsiteY48" fmla="*/ 1062100 h 6857999"/>
              <a:gd name="connsiteX49" fmla="*/ 1842659 w 7121235"/>
              <a:gd name="connsiteY49" fmla="*/ 651560 h 6857999"/>
              <a:gd name="connsiteX50" fmla="*/ 2 w 7121235"/>
              <a:gd name="connsiteY50" fmla="*/ 1 h 6857999"/>
              <a:gd name="connsiteX51" fmla="*/ 2 w 7121235"/>
              <a:gd name="connsiteY51" fmla="*/ 4285577 h 6857999"/>
              <a:gd name="connsiteX52" fmla="*/ 2 w 7121235"/>
              <a:gd name="connsiteY52" fmla="*/ 4292290 h 6857999"/>
              <a:gd name="connsiteX53" fmla="*/ 365306 w 7121235"/>
              <a:gd name="connsiteY53" fmla="*/ 4504421 h 6857999"/>
              <a:gd name="connsiteX54" fmla="*/ 2 w 7121235"/>
              <a:gd name="connsiteY54" fmla="*/ 4717894 h 6857999"/>
              <a:gd name="connsiteX55" fmla="*/ 2 w 7121235"/>
              <a:gd name="connsiteY55" fmla="*/ 6857998 h 6857999"/>
              <a:gd name="connsiteX56" fmla="*/ 738668 w 7121235"/>
              <a:gd name="connsiteY56" fmla="*/ 6857998 h 6857999"/>
              <a:gd name="connsiteX57" fmla="*/ 738668 w 7121235"/>
              <a:gd name="connsiteY57" fmla="*/ 6425681 h 6857999"/>
              <a:gd name="connsiteX58" fmla="*/ 367992 w 7121235"/>
              <a:gd name="connsiteY58" fmla="*/ 6641840 h 6857999"/>
              <a:gd name="connsiteX59" fmla="*/ 367992 w 7121235"/>
              <a:gd name="connsiteY59" fmla="*/ 6216236 h 6857999"/>
              <a:gd name="connsiteX60" fmla="*/ 1108000 w 7121235"/>
              <a:gd name="connsiteY60" fmla="*/ 5783919 h 6857999"/>
              <a:gd name="connsiteX61" fmla="*/ 1108000 w 7121235"/>
              <a:gd name="connsiteY61" fmla="*/ 2789923 h 6857999"/>
              <a:gd name="connsiteX62" fmla="*/ 735981 w 7121235"/>
              <a:gd name="connsiteY62" fmla="*/ 2573765 h 6857999"/>
              <a:gd name="connsiteX63" fmla="*/ 735981 w 7121235"/>
              <a:gd name="connsiteY63" fmla="*/ 2141448 h 6857999"/>
              <a:gd name="connsiteX64" fmla="*/ 367992 w 7121235"/>
              <a:gd name="connsiteY64" fmla="*/ 1927974 h 6857999"/>
              <a:gd name="connsiteX65" fmla="*/ 367992 w 7121235"/>
              <a:gd name="connsiteY65" fmla="*/ 1499685 h 6857999"/>
              <a:gd name="connsiteX66" fmla="*/ 738668 w 7121235"/>
              <a:gd name="connsiteY66" fmla="*/ 1287554 h 6857999"/>
              <a:gd name="connsiteX67" fmla="*/ 738668 w 7121235"/>
              <a:gd name="connsiteY67" fmla="*/ 1 h 6857999"/>
              <a:gd name="connsiteX68" fmla="*/ 735981 w 7121235"/>
              <a:gd name="connsiteY68" fmla="*/ 1 h 6857999"/>
              <a:gd name="connsiteX69" fmla="*/ 0 w 7121235"/>
              <a:gd name="connsiteY69" fmla="*/ 0 h 6857999"/>
              <a:gd name="connsiteX70" fmla="*/ 7121235 w 7121235"/>
              <a:gd name="connsiteY70" fmla="*/ 0 h 6857999"/>
              <a:gd name="connsiteX71" fmla="*/ 7121235 w 7121235"/>
              <a:gd name="connsiteY71" fmla="*/ 1 h 6857999"/>
              <a:gd name="connsiteX72" fmla="*/ 2958692 w 7121235"/>
              <a:gd name="connsiteY72" fmla="*/ 1 h 6857999"/>
              <a:gd name="connsiteX73" fmla="*/ 4431990 w 7121235"/>
              <a:gd name="connsiteY73" fmla="*/ 857922 h 6857999"/>
              <a:gd name="connsiteX74" fmla="*/ 4431990 w 7121235"/>
              <a:gd name="connsiteY74" fmla="*/ 1292925 h 6857999"/>
              <a:gd name="connsiteX75" fmla="*/ 4793265 w 7121235"/>
              <a:gd name="connsiteY75" fmla="*/ 1502370 h 6857999"/>
              <a:gd name="connsiteX76" fmla="*/ 4793265 w 7121235"/>
              <a:gd name="connsiteY76" fmla="*/ 1934687 h 6857999"/>
              <a:gd name="connsiteX77" fmla="*/ 5165283 w 7121235"/>
              <a:gd name="connsiteY77" fmla="*/ 2148161 h 6857999"/>
              <a:gd name="connsiteX78" fmla="*/ 5165283 w 7121235"/>
              <a:gd name="connsiteY78" fmla="*/ 3427657 h 6857999"/>
              <a:gd name="connsiteX79" fmla="*/ 5537301 w 7121235"/>
              <a:gd name="connsiteY79" fmla="*/ 3641129 h 6857999"/>
              <a:gd name="connsiteX80" fmla="*/ 5537301 w 7121235"/>
              <a:gd name="connsiteY80" fmla="*/ 4927340 h 6857999"/>
              <a:gd name="connsiteX81" fmla="*/ 3691984 w 7121235"/>
              <a:gd name="connsiteY81" fmla="*/ 6000077 h 6857999"/>
              <a:gd name="connsiteX82" fmla="*/ 3691984 w 7121235"/>
              <a:gd name="connsiteY82" fmla="*/ 6848600 h 6857999"/>
              <a:gd name="connsiteX83" fmla="*/ 3691984 w 7121235"/>
              <a:gd name="connsiteY83" fmla="*/ 6857998 h 6857999"/>
              <a:gd name="connsiteX84" fmla="*/ 4431990 w 7121235"/>
              <a:gd name="connsiteY84" fmla="*/ 6857998 h 6857999"/>
              <a:gd name="connsiteX85" fmla="*/ 4431990 w 7121235"/>
              <a:gd name="connsiteY85" fmla="*/ 6429709 h 6857999"/>
              <a:gd name="connsiteX86" fmla="*/ 4797292 w 7121235"/>
              <a:gd name="connsiteY86" fmla="*/ 6641840 h 6857999"/>
              <a:gd name="connsiteX87" fmla="*/ 4431992 w 7121235"/>
              <a:gd name="connsiteY87" fmla="*/ 6857998 h 6857999"/>
              <a:gd name="connsiteX88" fmla="*/ 7121235 w 7121235"/>
              <a:gd name="connsiteY88" fmla="*/ 6857998 h 6857999"/>
              <a:gd name="connsiteX89" fmla="*/ 7121235 w 7121235"/>
              <a:gd name="connsiteY89" fmla="*/ 6857999 h 6857999"/>
              <a:gd name="connsiteX90" fmla="*/ 0 w 7121235"/>
              <a:gd name="connsiteY9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21235" h="6857999">
                <a:moveTo>
                  <a:pt x="1467955" y="6003620"/>
                </a:moveTo>
                <a:lnTo>
                  <a:pt x="1113343" y="6209544"/>
                </a:lnTo>
                <a:lnTo>
                  <a:pt x="1467955" y="6416770"/>
                </a:lnTo>
                <a:close/>
                <a:moveTo>
                  <a:pt x="4431990" y="5571788"/>
                </a:moveTo>
                <a:lnTo>
                  <a:pt x="4797292" y="5783919"/>
                </a:lnTo>
                <a:lnTo>
                  <a:pt x="4431990" y="5997393"/>
                </a:lnTo>
                <a:close/>
                <a:moveTo>
                  <a:pt x="370677" y="4927340"/>
                </a:moveTo>
                <a:lnTo>
                  <a:pt x="370677" y="5352945"/>
                </a:lnTo>
                <a:lnTo>
                  <a:pt x="2688" y="5139471"/>
                </a:lnTo>
                <a:close/>
                <a:moveTo>
                  <a:pt x="4434628" y="4724122"/>
                </a:moveTo>
                <a:lnTo>
                  <a:pt x="4434628" y="5137272"/>
                </a:lnTo>
                <a:lnTo>
                  <a:pt x="4787938" y="4930046"/>
                </a:lnTo>
                <a:close/>
                <a:moveTo>
                  <a:pt x="4812039" y="4078332"/>
                </a:moveTo>
                <a:lnTo>
                  <a:pt x="4812039" y="4491482"/>
                </a:lnTo>
                <a:lnTo>
                  <a:pt x="5166651" y="4285559"/>
                </a:lnTo>
                <a:close/>
                <a:moveTo>
                  <a:pt x="6275966" y="3218212"/>
                </a:moveTo>
                <a:lnTo>
                  <a:pt x="6275966" y="3643816"/>
                </a:lnTo>
                <a:lnTo>
                  <a:pt x="5912006" y="3430342"/>
                </a:lnTo>
                <a:close/>
                <a:moveTo>
                  <a:pt x="370677" y="3218212"/>
                </a:moveTo>
                <a:lnTo>
                  <a:pt x="735980" y="3430342"/>
                </a:lnTo>
                <a:lnTo>
                  <a:pt x="735980" y="4285578"/>
                </a:lnTo>
                <a:lnTo>
                  <a:pt x="370677" y="4076133"/>
                </a:lnTo>
                <a:close/>
                <a:moveTo>
                  <a:pt x="1481333" y="2579992"/>
                </a:moveTo>
                <a:lnTo>
                  <a:pt x="1481333" y="2993142"/>
                </a:lnTo>
                <a:lnTo>
                  <a:pt x="1835945" y="2785915"/>
                </a:lnTo>
                <a:close/>
                <a:moveTo>
                  <a:pt x="4077377" y="2369681"/>
                </a:moveTo>
                <a:lnTo>
                  <a:pt x="4077377" y="2786739"/>
                </a:lnTo>
                <a:lnTo>
                  <a:pt x="4431989" y="2992661"/>
                </a:lnTo>
                <a:lnTo>
                  <a:pt x="4786601" y="2786739"/>
                </a:lnTo>
                <a:lnTo>
                  <a:pt x="4431989" y="2576907"/>
                </a:lnTo>
                <a:close/>
                <a:moveTo>
                  <a:pt x="1102652" y="1508656"/>
                </a:moveTo>
                <a:lnTo>
                  <a:pt x="748040" y="1718488"/>
                </a:lnTo>
                <a:lnTo>
                  <a:pt x="1102652" y="1925714"/>
                </a:lnTo>
                <a:close/>
                <a:moveTo>
                  <a:pt x="5171998" y="1290240"/>
                </a:moveTo>
                <a:lnTo>
                  <a:pt x="5537301" y="1502371"/>
                </a:lnTo>
                <a:lnTo>
                  <a:pt x="5171998" y="1715844"/>
                </a:lnTo>
                <a:close/>
                <a:moveTo>
                  <a:pt x="4066685" y="1080308"/>
                </a:moveTo>
                <a:lnTo>
                  <a:pt x="3712073" y="1287534"/>
                </a:lnTo>
                <a:lnTo>
                  <a:pt x="4066685" y="1493458"/>
                </a:lnTo>
                <a:lnTo>
                  <a:pt x="4421297" y="1287534"/>
                </a:lnTo>
                <a:close/>
                <a:moveTo>
                  <a:pt x="1122744" y="654703"/>
                </a:moveTo>
                <a:lnTo>
                  <a:pt x="1122744" y="1067854"/>
                </a:lnTo>
                <a:lnTo>
                  <a:pt x="1477356" y="861930"/>
                </a:lnTo>
                <a:close/>
                <a:moveTo>
                  <a:pt x="370677" y="645792"/>
                </a:moveTo>
                <a:lnTo>
                  <a:pt x="735980" y="857923"/>
                </a:lnTo>
                <a:lnTo>
                  <a:pt x="370677" y="1071397"/>
                </a:lnTo>
                <a:close/>
                <a:moveTo>
                  <a:pt x="1488047" y="445638"/>
                </a:moveTo>
                <a:lnTo>
                  <a:pt x="1488047" y="858785"/>
                </a:lnTo>
                <a:lnTo>
                  <a:pt x="1842659" y="1062100"/>
                </a:lnTo>
                <a:lnTo>
                  <a:pt x="1842659" y="651560"/>
                </a:lnTo>
                <a:close/>
                <a:moveTo>
                  <a:pt x="2" y="1"/>
                </a:moveTo>
                <a:lnTo>
                  <a:pt x="2" y="4285577"/>
                </a:lnTo>
                <a:lnTo>
                  <a:pt x="2" y="4292290"/>
                </a:lnTo>
                <a:lnTo>
                  <a:pt x="365306" y="4504421"/>
                </a:lnTo>
                <a:lnTo>
                  <a:pt x="2" y="4717894"/>
                </a:lnTo>
                <a:lnTo>
                  <a:pt x="2" y="6857998"/>
                </a:lnTo>
                <a:lnTo>
                  <a:pt x="738668" y="6857998"/>
                </a:lnTo>
                <a:lnTo>
                  <a:pt x="738668" y="6425681"/>
                </a:lnTo>
                <a:lnTo>
                  <a:pt x="367992" y="6641840"/>
                </a:lnTo>
                <a:lnTo>
                  <a:pt x="367992" y="6216236"/>
                </a:lnTo>
                <a:lnTo>
                  <a:pt x="1108000" y="5783919"/>
                </a:lnTo>
                <a:lnTo>
                  <a:pt x="1108000" y="2789923"/>
                </a:lnTo>
                <a:lnTo>
                  <a:pt x="735981" y="2573765"/>
                </a:lnTo>
                <a:lnTo>
                  <a:pt x="735981" y="2141448"/>
                </a:lnTo>
                <a:lnTo>
                  <a:pt x="367992" y="1927974"/>
                </a:lnTo>
                <a:lnTo>
                  <a:pt x="367992" y="1499685"/>
                </a:lnTo>
                <a:lnTo>
                  <a:pt x="738668" y="1287554"/>
                </a:lnTo>
                <a:lnTo>
                  <a:pt x="738668" y="1"/>
                </a:lnTo>
                <a:lnTo>
                  <a:pt x="735981" y="1"/>
                </a:lnTo>
                <a:close/>
                <a:moveTo>
                  <a:pt x="0" y="0"/>
                </a:moveTo>
                <a:lnTo>
                  <a:pt x="7121235" y="0"/>
                </a:lnTo>
                <a:lnTo>
                  <a:pt x="7121235" y="1"/>
                </a:lnTo>
                <a:lnTo>
                  <a:pt x="2958692" y="1"/>
                </a:lnTo>
                <a:lnTo>
                  <a:pt x="4431990" y="857922"/>
                </a:lnTo>
                <a:lnTo>
                  <a:pt x="4431990" y="1292925"/>
                </a:lnTo>
                <a:lnTo>
                  <a:pt x="4793265" y="1502370"/>
                </a:lnTo>
                <a:lnTo>
                  <a:pt x="4793265" y="1934687"/>
                </a:lnTo>
                <a:lnTo>
                  <a:pt x="5165283" y="2148161"/>
                </a:lnTo>
                <a:lnTo>
                  <a:pt x="5165283" y="3427657"/>
                </a:lnTo>
                <a:lnTo>
                  <a:pt x="5537301" y="3641129"/>
                </a:lnTo>
                <a:lnTo>
                  <a:pt x="5537301" y="4927340"/>
                </a:lnTo>
                <a:lnTo>
                  <a:pt x="3691984" y="6000077"/>
                </a:lnTo>
                <a:lnTo>
                  <a:pt x="3691984" y="6848600"/>
                </a:lnTo>
                <a:lnTo>
                  <a:pt x="3691984" y="6857998"/>
                </a:lnTo>
                <a:lnTo>
                  <a:pt x="4431990" y="6857998"/>
                </a:lnTo>
                <a:lnTo>
                  <a:pt x="4431990" y="6429709"/>
                </a:lnTo>
                <a:lnTo>
                  <a:pt x="4797292" y="6641840"/>
                </a:lnTo>
                <a:lnTo>
                  <a:pt x="4431992" y="6857998"/>
                </a:lnTo>
                <a:lnTo>
                  <a:pt x="7121235" y="6857998"/>
                </a:lnTo>
                <a:lnTo>
                  <a:pt x="7121235" y="6857999"/>
                </a:lnTo>
                <a:lnTo>
                  <a:pt x="0" y="6857999"/>
                </a:lnTo>
                <a:close/>
              </a:path>
            </a:pathLst>
          </a:custGeom>
        </p:spPr>
        <p:txBody>
          <a:bodyPr wrap="square">
            <a:noAutofit/>
          </a:bodyPr>
          <a:lstStyle>
            <a:lvl1pPr marL="0" indent="0">
              <a:buNone/>
              <a:defRPr sz="120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to add picture</a:t>
            </a:r>
            <a:endParaRPr lang="ar-SA"/>
          </a:p>
        </p:txBody>
      </p:sp>
      <p:sp>
        <p:nvSpPr>
          <p:cNvPr id="34" name="Title 1">
            <a:extLst>
              <a:ext uri="{FF2B5EF4-FFF2-40B4-BE49-F238E27FC236}">
                <a16:creationId xmlns:a16="http://schemas.microsoft.com/office/drawing/2014/main" id="{31BBA778-64E4-9C4C-8806-1A8C377A972B}"/>
              </a:ext>
            </a:extLst>
          </p:cNvPr>
          <p:cNvSpPr>
            <a:spLocks noGrp="1"/>
          </p:cNvSpPr>
          <p:nvPr>
            <p:ph type="title" hasCustomPrompt="1"/>
          </p:nvPr>
        </p:nvSpPr>
        <p:spPr>
          <a:xfrm>
            <a:off x="7799185" y="1658320"/>
            <a:ext cx="3179763" cy="1913364"/>
          </a:xfrm>
        </p:spPr>
        <p:txBody>
          <a:bodyPr lIns="0" tIns="0" rIns="0" bIns="0" anchor="b">
            <a:noAutofit/>
          </a:bodyPr>
          <a:lstStyle>
            <a:lvl1pPr>
              <a:defRPr sz="4400" b="1">
                <a:latin typeface="Arial" panose="020B0604020202020204" pitchFamily="34" charset="0"/>
                <a:ea typeface="+mj-ea"/>
                <a:cs typeface="Arial" panose="020B0604020202020204" pitchFamily="34" charset="0"/>
                <a:sym typeface="Arial" panose="020B0604020202020204" pitchFamily="34" charset="0"/>
              </a:defRPr>
            </a:lvl1pPr>
          </a:lstStyle>
          <a:p>
            <a:r>
              <a:rPr lang="en-US"/>
              <a:t>Divider title goes here</a:t>
            </a:r>
            <a:endParaRPr lang="ar-SA"/>
          </a:p>
        </p:txBody>
      </p:sp>
      <p:sp>
        <p:nvSpPr>
          <p:cNvPr id="35" name="Text Placeholder 2">
            <a:extLst>
              <a:ext uri="{FF2B5EF4-FFF2-40B4-BE49-F238E27FC236}">
                <a16:creationId xmlns:a16="http://schemas.microsoft.com/office/drawing/2014/main" id="{F91C9796-CB07-194B-B62D-8AC12B657E13}"/>
              </a:ext>
            </a:extLst>
          </p:cNvPr>
          <p:cNvSpPr>
            <a:spLocks noGrp="1"/>
          </p:cNvSpPr>
          <p:nvPr>
            <p:ph type="body" idx="1" hasCustomPrompt="1"/>
          </p:nvPr>
        </p:nvSpPr>
        <p:spPr>
          <a:xfrm>
            <a:off x="7799184" y="3768851"/>
            <a:ext cx="3179763" cy="1140182"/>
          </a:xfrm>
        </p:spPr>
        <p:txBody>
          <a:bodyPr lIns="0" tIns="0" rIns="0" bIns="0">
            <a:noAutofit/>
          </a:bodyPr>
          <a:lstStyle>
            <a:lvl1pPr marL="0" indent="0">
              <a:buNone/>
              <a:defRPr sz="20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Tree>
    <p:extLst>
      <p:ext uri="{BB962C8B-B14F-4D97-AF65-F5344CB8AC3E}">
        <p14:creationId xmlns:p14="http://schemas.microsoft.com/office/powerpoint/2010/main" val="1340273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slide with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707506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60"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985D392-8695-4E80-ACA0-E9368BC8B06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reeform 9"/>
          <p:cNvSpPr>
            <a:spLocks/>
          </p:cNvSpPr>
          <p:nvPr userDrawn="1"/>
        </p:nvSpPr>
        <p:spPr bwMode="auto">
          <a:xfrm>
            <a:off x="-1" y="-1"/>
            <a:ext cx="12197674" cy="6858000"/>
          </a:xfrm>
          <a:custGeom>
            <a:avLst/>
            <a:gdLst>
              <a:gd name="connsiteX0" fmla="*/ 4065892 w 12197674"/>
              <a:gd name="connsiteY0" fmla="*/ 5358485 h 6858000"/>
              <a:gd name="connsiteX1" fmla="*/ 3700420 w 12197674"/>
              <a:gd name="connsiteY1" fmla="*/ 5570782 h 6858000"/>
              <a:gd name="connsiteX2" fmla="*/ 4065892 w 12197674"/>
              <a:gd name="connsiteY2" fmla="*/ 5784423 h 6858000"/>
              <a:gd name="connsiteX3" fmla="*/ 4436741 w 12197674"/>
              <a:gd name="connsiteY3" fmla="*/ 3431688 h 6858000"/>
              <a:gd name="connsiteX4" fmla="*/ 4068580 w 12197674"/>
              <a:gd name="connsiteY4" fmla="*/ 3645329 h 6858000"/>
              <a:gd name="connsiteX5" fmla="*/ 4436741 w 12197674"/>
              <a:gd name="connsiteY5" fmla="*/ 3857626 h 6858000"/>
              <a:gd name="connsiteX6" fmla="*/ 4802214 w 12197674"/>
              <a:gd name="connsiteY6" fmla="*/ 3645329 h 6858000"/>
              <a:gd name="connsiteX7" fmla="*/ 0 w 12197674"/>
              <a:gd name="connsiteY7" fmla="*/ 854563 h 6858000"/>
              <a:gd name="connsiteX8" fmla="*/ 370849 w 12197674"/>
              <a:gd name="connsiteY8" fmla="*/ 1068204 h 6858000"/>
              <a:gd name="connsiteX9" fmla="*/ 368162 w 12197674"/>
              <a:gd name="connsiteY9" fmla="*/ 1499516 h 6858000"/>
              <a:gd name="connsiteX10" fmla="*/ 739010 w 12197674"/>
              <a:gd name="connsiteY10" fmla="*/ 1713157 h 6858000"/>
              <a:gd name="connsiteX11" fmla="*/ 739010 w 12197674"/>
              <a:gd name="connsiteY11" fmla="*/ 2145814 h 6858000"/>
              <a:gd name="connsiteX12" fmla="*/ 368162 w 12197674"/>
              <a:gd name="connsiteY12" fmla="*/ 2358110 h 6858000"/>
              <a:gd name="connsiteX13" fmla="*/ 368162 w 12197674"/>
              <a:gd name="connsiteY13" fmla="*/ 3212672 h 6858000"/>
              <a:gd name="connsiteX14" fmla="*/ 736323 w 12197674"/>
              <a:gd name="connsiteY14" fmla="*/ 3431688 h 6858000"/>
              <a:gd name="connsiteX15" fmla="*/ 736323 w 12197674"/>
              <a:gd name="connsiteY15" fmla="*/ 5574813 h 6858000"/>
              <a:gd name="connsiteX16" fmla="*/ 368162 w 12197674"/>
              <a:gd name="connsiteY16" fmla="*/ 5787110 h 6858000"/>
              <a:gd name="connsiteX17" fmla="*/ 368162 w 12197674"/>
              <a:gd name="connsiteY17" fmla="*/ 6858000 h 6858000"/>
              <a:gd name="connsiteX18" fmla="*/ 0 w 12197674"/>
              <a:gd name="connsiteY18" fmla="*/ 6858000 h 6858000"/>
              <a:gd name="connsiteX19" fmla="*/ 4434053 w 12197674"/>
              <a:gd name="connsiteY19" fmla="*/ 428626 h 6858000"/>
              <a:gd name="connsiteX20" fmla="*/ 4068581 w 12197674"/>
              <a:gd name="connsiteY20" fmla="*/ 642267 h 6858000"/>
              <a:gd name="connsiteX21" fmla="*/ 4434053 w 12197674"/>
              <a:gd name="connsiteY21" fmla="*/ 858595 h 6858000"/>
              <a:gd name="connsiteX22" fmla="*/ 3321509 w 12197674"/>
              <a:gd name="connsiteY22" fmla="*/ 0 h 6858000"/>
              <a:gd name="connsiteX23" fmla="*/ 12197674 w 12197674"/>
              <a:gd name="connsiteY23" fmla="*/ 0 h 6858000"/>
              <a:gd name="connsiteX24" fmla="*/ 12197674 w 12197674"/>
              <a:gd name="connsiteY24" fmla="*/ 6858000 h 6858000"/>
              <a:gd name="connsiteX25" fmla="*/ 2960066 w 12197674"/>
              <a:gd name="connsiteY25" fmla="*/ 6858000 h 6858000"/>
              <a:gd name="connsiteX26" fmla="*/ 2957378 w 12197674"/>
              <a:gd name="connsiteY26" fmla="*/ 6858000 h 6858000"/>
              <a:gd name="connsiteX27" fmla="*/ 2957378 w 12197674"/>
              <a:gd name="connsiteY27" fmla="*/ 6852626 h 6858000"/>
              <a:gd name="connsiteX28" fmla="*/ 2957378 w 12197674"/>
              <a:gd name="connsiteY28" fmla="*/ 5570782 h 6858000"/>
              <a:gd name="connsiteX29" fmla="*/ 3325540 w 12197674"/>
              <a:gd name="connsiteY29" fmla="*/ 5354454 h 6858000"/>
              <a:gd name="connsiteX30" fmla="*/ 3325540 w 12197674"/>
              <a:gd name="connsiteY30" fmla="*/ 4499891 h 6858000"/>
              <a:gd name="connsiteX31" fmla="*/ 3693701 w 12197674"/>
              <a:gd name="connsiteY31" fmla="*/ 4283563 h 6858000"/>
              <a:gd name="connsiteX32" fmla="*/ 3693701 w 12197674"/>
              <a:gd name="connsiteY32" fmla="*/ 3857625 h 6858000"/>
              <a:gd name="connsiteX33" fmla="*/ 4065892 w 12197674"/>
              <a:gd name="connsiteY33" fmla="*/ 3642641 h 6858000"/>
              <a:gd name="connsiteX34" fmla="*/ 4065892 w 12197674"/>
              <a:gd name="connsiteY34" fmla="*/ 1073578 h 6858000"/>
              <a:gd name="connsiteX35" fmla="*/ 3696388 w 12197674"/>
              <a:gd name="connsiteY35" fmla="*/ 854563 h 6858000"/>
              <a:gd name="connsiteX36" fmla="*/ 3696388 w 12197674"/>
              <a:gd name="connsiteY36" fmla="*/ 428625 h 6858000"/>
              <a:gd name="connsiteX37" fmla="*/ 3321509 w 12197674"/>
              <a:gd name="connsiteY37" fmla="*/ 216328 h 6858000"/>
              <a:gd name="connsiteX38" fmla="*/ 0 w 12197674"/>
              <a:gd name="connsiteY38" fmla="*/ 0 h 6858000"/>
              <a:gd name="connsiteX39" fmla="*/ 370849 w 12197674"/>
              <a:gd name="connsiteY39" fmla="*/ 0 h 6858000"/>
              <a:gd name="connsiteX40" fmla="*/ 370849 w 12197674"/>
              <a:gd name="connsiteY40" fmla="*/ 216328 h 6858000"/>
              <a:gd name="connsiteX41" fmla="*/ 0 w 12197674"/>
              <a:gd name="connsiteY41" fmla="*/ 4286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7674" h="6858000">
                <a:moveTo>
                  <a:pt x="4065892" y="5358485"/>
                </a:moveTo>
                <a:lnTo>
                  <a:pt x="3700420" y="5570782"/>
                </a:lnTo>
                <a:lnTo>
                  <a:pt x="4065892" y="5784423"/>
                </a:lnTo>
                <a:close/>
                <a:moveTo>
                  <a:pt x="4436741" y="3431688"/>
                </a:moveTo>
                <a:lnTo>
                  <a:pt x="4068580" y="3645329"/>
                </a:lnTo>
                <a:lnTo>
                  <a:pt x="4436741" y="3857626"/>
                </a:lnTo>
                <a:lnTo>
                  <a:pt x="4802214" y="3645329"/>
                </a:lnTo>
                <a:close/>
                <a:moveTo>
                  <a:pt x="0" y="854563"/>
                </a:moveTo>
                <a:lnTo>
                  <a:pt x="370849" y="1068204"/>
                </a:lnTo>
                <a:lnTo>
                  <a:pt x="368162" y="1499516"/>
                </a:lnTo>
                <a:lnTo>
                  <a:pt x="739010" y="1713157"/>
                </a:lnTo>
                <a:lnTo>
                  <a:pt x="739010" y="2145814"/>
                </a:lnTo>
                <a:lnTo>
                  <a:pt x="368162" y="2358110"/>
                </a:lnTo>
                <a:lnTo>
                  <a:pt x="368162" y="3212672"/>
                </a:lnTo>
                <a:lnTo>
                  <a:pt x="736323" y="3431688"/>
                </a:lnTo>
                <a:lnTo>
                  <a:pt x="736323" y="5574813"/>
                </a:lnTo>
                <a:lnTo>
                  <a:pt x="368162" y="5787110"/>
                </a:lnTo>
                <a:lnTo>
                  <a:pt x="368162" y="6858000"/>
                </a:lnTo>
                <a:lnTo>
                  <a:pt x="0" y="6858000"/>
                </a:lnTo>
                <a:close/>
                <a:moveTo>
                  <a:pt x="4434053" y="428626"/>
                </a:moveTo>
                <a:lnTo>
                  <a:pt x="4068581" y="642267"/>
                </a:lnTo>
                <a:lnTo>
                  <a:pt x="4434053" y="858595"/>
                </a:lnTo>
                <a:close/>
                <a:moveTo>
                  <a:pt x="3321509" y="0"/>
                </a:moveTo>
                <a:lnTo>
                  <a:pt x="12197674" y="0"/>
                </a:lnTo>
                <a:lnTo>
                  <a:pt x="12197674" y="6858000"/>
                </a:lnTo>
                <a:lnTo>
                  <a:pt x="2960066" y="6858000"/>
                </a:lnTo>
                <a:lnTo>
                  <a:pt x="2957378" y="6858000"/>
                </a:lnTo>
                <a:lnTo>
                  <a:pt x="2957378" y="6852626"/>
                </a:lnTo>
                <a:lnTo>
                  <a:pt x="2957378" y="5570782"/>
                </a:lnTo>
                <a:lnTo>
                  <a:pt x="3325540" y="5354454"/>
                </a:lnTo>
                <a:lnTo>
                  <a:pt x="3325540" y="4499891"/>
                </a:lnTo>
                <a:lnTo>
                  <a:pt x="3693701" y="4283563"/>
                </a:lnTo>
                <a:lnTo>
                  <a:pt x="3693701" y="3857625"/>
                </a:lnTo>
                <a:lnTo>
                  <a:pt x="4065892" y="3642641"/>
                </a:lnTo>
                <a:lnTo>
                  <a:pt x="4065892" y="1073578"/>
                </a:lnTo>
                <a:lnTo>
                  <a:pt x="3696388" y="854563"/>
                </a:lnTo>
                <a:lnTo>
                  <a:pt x="3696388" y="428625"/>
                </a:lnTo>
                <a:lnTo>
                  <a:pt x="3321509" y="216328"/>
                </a:lnTo>
                <a:close/>
                <a:moveTo>
                  <a:pt x="0" y="0"/>
                </a:moveTo>
                <a:lnTo>
                  <a:pt x="370849" y="0"/>
                </a:lnTo>
                <a:lnTo>
                  <a:pt x="370849" y="216328"/>
                </a:lnTo>
                <a:lnTo>
                  <a:pt x="0" y="428625"/>
                </a:ln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1" name="Freeform 10"/>
          <p:cNvSpPr>
            <a:spLocks/>
          </p:cNvSpPr>
          <p:nvPr userDrawn="1"/>
        </p:nvSpPr>
        <p:spPr bwMode="auto">
          <a:xfrm>
            <a:off x="4436739" y="1287219"/>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E9B43"/>
              </a:gs>
              <a:gs pos="100000">
                <a:srgbClr val="FE9441"/>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2" name="Freeform 11"/>
          <p:cNvSpPr>
            <a:spLocks/>
          </p:cNvSpPr>
          <p:nvPr userDrawn="1"/>
        </p:nvSpPr>
        <p:spPr bwMode="auto">
          <a:xfrm>
            <a:off x="1111200" y="1070891"/>
            <a:ext cx="368161" cy="425938"/>
          </a:xfrm>
          <a:custGeom>
            <a:avLst/>
            <a:gdLst>
              <a:gd name="T0" fmla="*/ 0 w 274"/>
              <a:gd name="T1" fmla="*/ 317 h 317"/>
              <a:gd name="T2" fmla="*/ 0 w 274"/>
              <a:gd name="T3" fmla="*/ 0 h 317"/>
              <a:gd name="T4" fmla="*/ 274 w 274"/>
              <a:gd name="T5" fmla="*/ 159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9"/>
                </a:lnTo>
                <a:lnTo>
                  <a:pt x="0" y="317"/>
                </a:lnTo>
                <a:close/>
              </a:path>
            </a:pathLst>
          </a:custGeom>
          <a:gradFill>
            <a:gsLst>
              <a:gs pos="0">
                <a:srgbClr val="FE9B43"/>
              </a:gs>
              <a:gs pos="100000">
                <a:srgbClr val="FE9441"/>
              </a:gs>
            </a:gsLst>
            <a:lin ang="5400000" scaled="1"/>
          </a:gradFill>
          <a:ln>
            <a:noFill/>
          </a:ln>
        </p:spPr>
        <p:txBody>
          <a:bodyPr vert="horz" wrap="square" lIns="91440" tIns="45720" rIns="91440" bIns="45720" numCol="1" anchor="t" anchorCtr="0" compatLnSpc="1">
            <a:prstTxWarp prst="textNoShape">
              <a:avLst/>
            </a:prstTxWarp>
          </a:bodyPr>
          <a:lstStyle/>
          <a:p>
            <a:pPr lv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6" name="Freeform 15"/>
          <p:cNvSpPr>
            <a:spLocks/>
          </p:cNvSpPr>
          <p:nvPr userDrawn="1"/>
        </p:nvSpPr>
        <p:spPr bwMode="auto">
          <a:xfrm>
            <a:off x="736321" y="6003437"/>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5D4264"/>
              </a:gs>
              <a:gs pos="100000">
                <a:srgbClr val="463B6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7" name="Freeform 16"/>
          <p:cNvSpPr>
            <a:spLocks/>
          </p:cNvSpPr>
          <p:nvPr userDrawn="1"/>
        </p:nvSpPr>
        <p:spPr bwMode="auto">
          <a:xfrm>
            <a:off x="3700418" y="6215734"/>
            <a:ext cx="365473" cy="425938"/>
          </a:xfrm>
          <a:custGeom>
            <a:avLst/>
            <a:gdLst>
              <a:gd name="T0" fmla="*/ 272 w 272"/>
              <a:gd name="T1" fmla="*/ 317 h 317"/>
              <a:gd name="T2" fmla="*/ 272 w 272"/>
              <a:gd name="T3" fmla="*/ 0 h 317"/>
              <a:gd name="T4" fmla="*/ 0 w 272"/>
              <a:gd name="T5" fmla="*/ 159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272" y="0"/>
                </a:lnTo>
                <a:lnTo>
                  <a:pt x="0" y="159"/>
                </a:lnTo>
                <a:lnTo>
                  <a:pt x="272" y="317"/>
                </a:lnTo>
                <a:close/>
              </a:path>
            </a:pathLst>
          </a:custGeom>
          <a:gradFill>
            <a:gsLst>
              <a:gs pos="0">
                <a:srgbClr val="4B3C66"/>
              </a:gs>
              <a:gs pos="100000">
                <a:srgbClr val="39386B"/>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 name="Freeform 11"/>
          <p:cNvSpPr>
            <a:spLocks/>
          </p:cNvSpPr>
          <p:nvPr userDrawn="1"/>
        </p:nvSpPr>
        <p:spPr bwMode="auto">
          <a:xfrm>
            <a:off x="3325539" y="5784422"/>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66425F"/>
              </a:gs>
              <a:gs pos="100000">
                <a:srgbClr val="513E6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 name="Freeform 12"/>
          <p:cNvSpPr>
            <a:spLocks/>
          </p:cNvSpPr>
          <p:nvPr userDrawn="1"/>
        </p:nvSpPr>
        <p:spPr bwMode="auto">
          <a:xfrm>
            <a:off x="3332257" y="2793453"/>
            <a:ext cx="368161" cy="425938"/>
          </a:xfrm>
          <a:custGeom>
            <a:avLst/>
            <a:gdLst>
              <a:gd name="T0" fmla="*/ 0 w 274"/>
              <a:gd name="T1" fmla="*/ 317 h 317"/>
              <a:gd name="T2" fmla="*/ 0 w 274"/>
              <a:gd name="T3" fmla="*/ 0 h 317"/>
              <a:gd name="T4" fmla="*/ 274 w 274"/>
              <a:gd name="T5" fmla="*/ 159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9"/>
                </a:lnTo>
                <a:lnTo>
                  <a:pt x="0" y="317"/>
                </a:lnTo>
                <a:close/>
              </a:path>
            </a:pathLst>
          </a:custGeom>
          <a:gradFill>
            <a:gsLst>
              <a:gs pos="0">
                <a:srgbClr val="FF7638"/>
              </a:gs>
              <a:gs pos="100000">
                <a:srgbClr val="FF6E3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3" name="Freeform 13"/>
          <p:cNvSpPr>
            <a:spLocks/>
          </p:cNvSpPr>
          <p:nvPr userDrawn="1"/>
        </p:nvSpPr>
        <p:spPr bwMode="auto">
          <a:xfrm>
            <a:off x="1111200" y="1713156"/>
            <a:ext cx="368161" cy="428625"/>
          </a:xfrm>
          <a:custGeom>
            <a:avLst/>
            <a:gdLst>
              <a:gd name="T0" fmla="*/ 274 w 274"/>
              <a:gd name="T1" fmla="*/ 319 h 319"/>
              <a:gd name="T2" fmla="*/ 274 w 274"/>
              <a:gd name="T3" fmla="*/ 0 h 319"/>
              <a:gd name="T4" fmla="*/ 0 w 274"/>
              <a:gd name="T5" fmla="*/ 158 h 319"/>
              <a:gd name="T6" fmla="*/ 274 w 274"/>
              <a:gd name="T7" fmla="*/ 319 h 319"/>
            </a:gdLst>
            <a:ahLst/>
            <a:cxnLst>
              <a:cxn ang="0">
                <a:pos x="T0" y="T1"/>
              </a:cxn>
              <a:cxn ang="0">
                <a:pos x="T2" y="T3"/>
              </a:cxn>
              <a:cxn ang="0">
                <a:pos x="T4" y="T5"/>
              </a:cxn>
              <a:cxn ang="0">
                <a:pos x="T6" y="T7"/>
              </a:cxn>
            </a:cxnLst>
            <a:rect l="0" t="0" r="r" b="b"/>
            <a:pathLst>
              <a:path w="274" h="319">
                <a:moveTo>
                  <a:pt x="274" y="319"/>
                </a:moveTo>
                <a:lnTo>
                  <a:pt x="274" y="0"/>
                </a:lnTo>
                <a:lnTo>
                  <a:pt x="0" y="158"/>
                </a:lnTo>
                <a:lnTo>
                  <a:pt x="274" y="319"/>
                </a:lnTo>
                <a:close/>
              </a:path>
            </a:pathLst>
          </a:custGeom>
          <a:gradFill>
            <a:gsLst>
              <a:gs pos="0">
                <a:srgbClr val="FE9040"/>
              </a:gs>
              <a:gs pos="100000">
                <a:srgbClr val="FE893D"/>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Freeform 14"/>
          <p:cNvSpPr>
            <a:spLocks/>
          </p:cNvSpPr>
          <p:nvPr userDrawn="1"/>
        </p:nvSpPr>
        <p:spPr bwMode="auto">
          <a:xfrm>
            <a:off x="4065891" y="4283563"/>
            <a:ext cx="729603" cy="1074922"/>
          </a:xfrm>
          <a:custGeom>
            <a:avLst/>
            <a:gdLst>
              <a:gd name="T0" fmla="*/ 0 w 543"/>
              <a:gd name="T1" fmla="*/ 159 h 800"/>
              <a:gd name="T2" fmla="*/ 0 w 543"/>
              <a:gd name="T3" fmla="*/ 800 h 800"/>
              <a:gd name="T4" fmla="*/ 272 w 543"/>
              <a:gd name="T5" fmla="*/ 641 h 800"/>
              <a:gd name="T6" fmla="*/ 272 w 543"/>
              <a:gd name="T7" fmla="*/ 317 h 800"/>
              <a:gd name="T8" fmla="*/ 543 w 543"/>
              <a:gd name="T9" fmla="*/ 159 h 800"/>
              <a:gd name="T10" fmla="*/ 272 w 543"/>
              <a:gd name="T11" fmla="*/ 0 h 800"/>
              <a:gd name="T12" fmla="*/ 0 w 543"/>
              <a:gd name="T13" fmla="*/ 159 h 800"/>
            </a:gdLst>
            <a:ahLst/>
            <a:cxnLst>
              <a:cxn ang="0">
                <a:pos x="T0" y="T1"/>
              </a:cxn>
              <a:cxn ang="0">
                <a:pos x="T2" y="T3"/>
              </a:cxn>
              <a:cxn ang="0">
                <a:pos x="T4" y="T5"/>
              </a:cxn>
              <a:cxn ang="0">
                <a:pos x="T6" y="T7"/>
              </a:cxn>
              <a:cxn ang="0">
                <a:pos x="T8" y="T9"/>
              </a:cxn>
              <a:cxn ang="0">
                <a:pos x="T10" y="T11"/>
              </a:cxn>
              <a:cxn ang="0">
                <a:pos x="T12" y="T13"/>
              </a:cxn>
            </a:cxnLst>
            <a:rect l="0" t="0" r="r" b="b"/>
            <a:pathLst>
              <a:path w="543" h="800">
                <a:moveTo>
                  <a:pt x="0" y="159"/>
                </a:moveTo>
                <a:lnTo>
                  <a:pt x="0" y="800"/>
                </a:lnTo>
                <a:lnTo>
                  <a:pt x="272" y="641"/>
                </a:lnTo>
                <a:lnTo>
                  <a:pt x="272" y="317"/>
                </a:lnTo>
                <a:lnTo>
                  <a:pt x="543" y="159"/>
                </a:lnTo>
                <a:lnTo>
                  <a:pt x="272" y="0"/>
                </a:lnTo>
                <a:lnTo>
                  <a:pt x="0" y="159"/>
                </a:lnTo>
                <a:close/>
              </a:path>
            </a:pathLst>
          </a:custGeom>
          <a:gradFill>
            <a:gsLst>
              <a:gs pos="0">
                <a:srgbClr val="C65943"/>
              </a:gs>
              <a:gs pos="100000">
                <a:srgbClr val="8C4B5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5" name="Freeform 15"/>
          <p:cNvSpPr>
            <a:spLocks/>
          </p:cNvSpPr>
          <p:nvPr userDrawn="1"/>
        </p:nvSpPr>
        <p:spPr bwMode="auto">
          <a:xfrm>
            <a:off x="370848" y="428625"/>
            <a:ext cx="730947" cy="425938"/>
          </a:xfrm>
          <a:custGeom>
            <a:avLst/>
            <a:gdLst>
              <a:gd name="T0" fmla="*/ 272 w 544"/>
              <a:gd name="T1" fmla="*/ 0 h 317"/>
              <a:gd name="T2" fmla="*/ 0 w 544"/>
              <a:gd name="T3" fmla="*/ 159 h 317"/>
              <a:gd name="T4" fmla="*/ 272 w 544"/>
              <a:gd name="T5" fmla="*/ 317 h 317"/>
              <a:gd name="T6" fmla="*/ 544 w 544"/>
              <a:gd name="T7" fmla="*/ 159 h 317"/>
              <a:gd name="T8" fmla="*/ 272 w 544"/>
              <a:gd name="T9" fmla="*/ 0 h 317"/>
            </a:gdLst>
            <a:ahLst/>
            <a:cxnLst>
              <a:cxn ang="0">
                <a:pos x="T0" y="T1"/>
              </a:cxn>
              <a:cxn ang="0">
                <a:pos x="T2" y="T3"/>
              </a:cxn>
              <a:cxn ang="0">
                <a:pos x="T4" y="T5"/>
              </a:cxn>
              <a:cxn ang="0">
                <a:pos x="T6" y="T7"/>
              </a:cxn>
              <a:cxn ang="0">
                <a:pos x="T8" y="T9"/>
              </a:cxn>
            </a:cxnLst>
            <a:rect l="0" t="0" r="r" b="b"/>
            <a:pathLst>
              <a:path w="544" h="317">
                <a:moveTo>
                  <a:pt x="272" y="0"/>
                </a:moveTo>
                <a:lnTo>
                  <a:pt x="0" y="159"/>
                </a:lnTo>
                <a:lnTo>
                  <a:pt x="272" y="317"/>
                </a:lnTo>
                <a:lnTo>
                  <a:pt x="544" y="159"/>
                </a:lnTo>
                <a:lnTo>
                  <a:pt x="272" y="0"/>
                </a:lnTo>
                <a:close/>
              </a:path>
            </a:pathLst>
          </a:custGeom>
          <a:gradFill>
            <a:gsLst>
              <a:gs pos="0">
                <a:srgbClr val="FDB14A"/>
              </a:gs>
              <a:gs pos="100000">
                <a:srgbClr val="FDA94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6" name="Freeform 16"/>
          <p:cNvSpPr>
            <a:spLocks/>
          </p:cNvSpPr>
          <p:nvPr userDrawn="1"/>
        </p:nvSpPr>
        <p:spPr bwMode="auto">
          <a:xfrm>
            <a:off x="4436739" y="2370202"/>
            <a:ext cx="368161" cy="636891"/>
          </a:xfrm>
          <a:custGeom>
            <a:avLst/>
            <a:gdLst>
              <a:gd name="T0" fmla="*/ 0 w 274"/>
              <a:gd name="T1" fmla="*/ 157 h 474"/>
              <a:gd name="T2" fmla="*/ 3 w 274"/>
              <a:gd name="T3" fmla="*/ 474 h 474"/>
              <a:gd name="T4" fmla="*/ 274 w 274"/>
              <a:gd name="T5" fmla="*/ 315 h 474"/>
              <a:gd name="T6" fmla="*/ 272 w 274"/>
              <a:gd name="T7" fmla="*/ 0 h 474"/>
              <a:gd name="T8" fmla="*/ 0 w 274"/>
              <a:gd name="T9" fmla="*/ 157 h 474"/>
            </a:gdLst>
            <a:ahLst/>
            <a:cxnLst>
              <a:cxn ang="0">
                <a:pos x="T0" y="T1"/>
              </a:cxn>
              <a:cxn ang="0">
                <a:pos x="T2" y="T3"/>
              </a:cxn>
              <a:cxn ang="0">
                <a:pos x="T4" y="T5"/>
              </a:cxn>
              <a:cxn ang="0">
                <a:pos x="T6" y="T7"/>
              </a:cxn>
              <a:cxn ang="0">
                <a:pos x="T8" y="T9"/>
              </a:cxn>
            </a:cxnLst>
            <a:rect l="0" t="0" r="r" b="b"/>
            <a:pathLst>
              <a:path w="274" h="474">
                <a:moveTo>
                  <a:pt x="0" y="157"/>
                </a:moveTo>
                <a:lnTo>
                  <a:pt x="3" y="474"/>
                </a:lnTo>
                <a:lnTo>
                  <a:pt x="274" y="315"/>
                </a:lnTo>
                <a:lnTo>
                  <a:pt x="272" y="0"/>
                </a:lnTo>
                <a:lnTo>
                  <a:pt x="0" y="157"/>
                </a:lnTo>
                <a:close/>
              </a:path>
            </a:pathLst>
          </a:custGeom>
          <a:gradFill>
            <a:gsLst>
              <a:gs pos="0">
                <a:srgbClr val="FE803B"/>
              </a:gs>
              <a:gs pos="100000">
                <a:srgbClr val="FF733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7" name="Freeform 21"/>
          <p:cNvSpPr>
            <a:spLocks/>
          </p:cNvSpPr>
          <p:nvPr userDrawn="1"/>
        </p:nvSpPr>
        <p:spPr bwMode="auto">
          <a:xfrm>
            <a:off x="3337632" y="858594"/>
            <a:ext cx="730947" cy="854563"/>
          </a:xfrm>
          <a:custGeom>
            <a:avLst/>
            <a:gdLst>
              <a:gd name="T0" fmla="*/ 0 w 544"/>
              <a:gd name="T1" fmla="*/ 477 h 636"/>
              <a:gd name="T2" fmla="*/ 0 w 544"/>
              <a:gd name="T3" fmla="*/ 160 h 636"/>
              <a:gd name="T4" fmla="*/ 272 w 544"/>
              <a:gd name="T5" fmla="*/ 0 h 636"/>
              <a:gd name="T6" fmla="*/ 272 w 544"/>
              <a:gd name="T7" fmla="*/ 319 h 636"/>
              <a:gd name="T8" fmla="*/ 544 w 544"/>
              <a:gd name="T9" fmla="*/ 477 h 636"/>
              <a:gd name="T10" fmla="*/ 272 w 544"/>
              <a:gd name="T11" fmla="*/ 636 h 636"/>
              <a:gd name="T12" fmla="*/ 0 w 544"/>
              <a:gd name="T13" fmla="*/ 477 h 636"/>
            </a:gdLst>
            <a:ahLst/>
            <a:cxnLst>
              <a:cxn ang="0">
                <a:pos x="T0" y="T1"/>
              </a:cxn>
              <a:cxn ang="0">
                <a:pos x="T2" y="T3"/>
              </a:cxn>
              <a:cxn ang="0">
                <a:pos x="T4" y="T5"/>
              </a:cxn>
              <a:cxn ang="0">
                <a:pos x="T6" y="T7"/>
              </a:cxn>
              <a:cxn ang="0">
                <a:pos x="T8" y="T9"/>
              </a:cxn>
              <a:cxn ang="0">
                <a:pos x="T10" y="T11"/>
              </a:cxn>
              <a:cxn ang="0">
                <a:pos x="T12" y="T13"/>
              </a:cxn>
            </a:cxnLst>
            <a:rect l="0" t="0" r="r" b="b"/>
            <a:pathLst>
              <a:path w="544" h="636">
                <a:moveTo>
                  <a:pt x="0" y="477"/>
                </a:moveTo>
                <a:lnTo>
                  <a:pt x="0" y="160"/>
                </a:lnTo>
                <a:lnTo>
                  <a:pt x="272" y="0"/>
                </a:lnTo>
                <a:lnTo>
                  <a:pt x="272" y="319"/>
                </a:lnTo>
                <a:lnTo>
                  <a:pt x="544" y="477"/>
                </a:lnTo>
                <a:lnTo>
                  <a:pt x="272" y="636"/>
                </a:lnTo>
                <a:lnTo>
                  <a:pt x="0" y="477"/>
                </a:lnTo>
                <a:close/>
              </a:path>
            </a:pathLst>
          </a:custGeom>
          <a:gradFill>
            <a:gsLst>
              <a:gs pos="0">
                <a:srgbClr val="FEA646"/>
              </a:gs>
              <a:gs pos="100000">
                <a:srgbClr val="FF9340"/>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8" name="Freeform 22"/>
          <p:cNvSpPr>
            <a:spLocks/>
          </p:cNvSpPr>
          <p:nvPr userDrawn="1"/>
        </p:nvSpPr>
        <p:spPr bwMode="auto">
          <a:xfrm>
            <a:off x="2219713" y="4499891"/>
            <a:ext cx="368161" cy="849188"/>
          </a:xfrm>
          <a:custGeom>
            <a:avLst/>
            <a:gdLst>
              <a:gd name="T0" fmla="*/ 274 w 274"/>
              <a:gd name="T1" fmla="*/ 0 h 632"/>
              <a:gd name="T2" fmla="*/ 274 w 274"/>
              <a:gd name="T3" fmla="*/ 317 h 632"/>
              <a:gd name="T4" fmla="*/ 274 w 274"/>
              <a:gd name="T5" fmla="*/ 632 h 632"/>
              <a:gd name="T6" fmla="*/ 0 w 274"/>
              <a:gd name="T7" fmla="*/ 471 h 632"/>
              <a:gd name="T8" fmla="*/ 0 w 274"/>
              <a:gd name="T9" fmla="*/ 156 h 632"/>
              <a:gd name="T10" fmla="*/ 274 w 274"/>
              <a:gd name="T11" fmla="*/ 0 h 632"/>
            </a:gdLst>
            <a:ahLst/>
            <a:cxnLst>
              <a:cxn ang="0">
                <a:pos x="T0" y="T1"/>
              </a:cxn>
              <a:cxn ang="0">
                <a:pos x="T2" y="T3"/>
              </a:cxn>
              <a:cxn ang="0">
                <a:pos x="T4" y="T5"/>
              </a:cxn>
              <a:cxn ang="0">
                <a:pos x="T6" y="T7"/>
              </a:cxn>
              <a:cxn ang="0">
                <a:pos x="T8" y="T9"/>
              </a:cxn>
              <a:cxn ang="0">
                <a:pos x="T10" y="T11"/>
              </a:cxn>
            </a:cxnLst>
            <a:rect l="0" t="0" r="r" b="b"/>
            <a:pathLst>
              <a:path w="274" h="632">
                <a:moveTo>
                  <a:pt x="274" y="0"/>
                </a:moveTo>
                <a:lnTo>
                  <a:pt x="274" y="317"/>
                </a:lnTo>
                <a:lnTo>
                  <a:pt x="274" y="632"/>
                </a:lnTo>
                <a:lnTo>
                  <a:pt x="0" y="471"/>
                </a:lnTo>
                <a:lnTo>
                  <a:pt x="0" y="156"/>
                </a:lnTo>
                <a:lnTo>
                  <a:pt x="274" y="0"/>
                </a:lnTo>
                <a:close/>
              </a:path>
            </a:pathLst>
          </a:custGeom>
          <a:gradFill>
            <a:gsLst>
              <a:gs pos="0">
                <a:srgbClr val="B85547"/>
              </a:gs>
              <a:gs pos="100000">
                <a:srgbClr val="8A4B5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9" name="Freeform 24"/>
          <p:cNvSpPr>
            <a:spLocks/>
          </p:cNvSpPr>
          <p:nvPr userDrawn="1"/>
        </p:nvSpPr>
        <p:spPr bwMode="auto">
          <a:xfrm>
            <a:off x="368161" y="3645328"/>
            <a:ext cx="368161" cy="425938"/>
          </a:xfrm>
          <a:custGeom>
            <a:avLst/>
            <a:gdLst>
              <a:gd name="T0" fmla="*/ 0 w 274"/>
              <a:gd name="T1" fmla="*/ 317 h 317"/>
              <a:gd name="T2" fmla="*/ 0 w 274"/>
              <a:gd name="T3" fmla="*/ 0 h 317"/>
              <a:gd name="T4" fmla="*/ 274 w 274"/>
              <a:gd name="T5" fmla="*/ 158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8"/>
                </a:lnTo>
                <a:lnTo>
                  <a:pt x="0" y="317"/>
                </a:lnTo>
                <a:close/>
              </a:path>
            </a:pathLst>
          </a:custGeom>
          <a:gradFill>
            <a:gsLst>
              <a:gs pos="0">
                <a:srgbClr val="EE6238"/>
              </a:gs>
              <a:gs pos="100000">
                <a:srgbClr val="DB5E3D"/>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30" name="Freeform 25"/>
          <p:cNvSpPr>
            <a:spLocks/>
          </p:cNvSpPr>
          <p:nvPr userDrawn="1"/>
        </p:nvSpPr>
        <p:spPr bwMode="auto">
          <a:xfrm>
            <a:off x="0" y="4292968"/>
            <a:ext cx="368161" cy="846501"/>
          </a:xfrm>
          <a:custGeom>
            <a:avLst/>
            <a:gdLst>
              <a:gd name="T0" fmla="*/ 0 w 274"/>
              <a:gd name="T1" fmla="*/ 0 h 630"/>
              <a:gd name="T2" fmla="*/ 0 w 274"/>
              <a:gd name="T3" fmla="*/ 315 h 630"/>
              <a:gd name="T4" fmla="*/ 0 w 274"/>
              <a:gd name="T5" fmla="*/ 630 h 630"/>
              <a:gd name="T6" fmla="*/ 274 w 274"/>
              <a:gd name="T7" fmla="*/ 471 h 630"/>
              <a:gd name="T8" fmla="*/ 274 w 274"/>
              <a:gd name="T9" fmla="*/ 157 h 630"/>
              <a:gd name="T10" fmla="*/ 0 w 274"/>
              <a:gd name="T11" fmla="*/ 0 h 630"/>
            </a:gdLst>
            <a:ahLst/>
            <a:cxnLst>
              <a:cxn ang="0">
                <a:pos x="T0" y="T1"/>
              </a:cxn>
              <a:cxn ang="0">
                <a:pos x="T2" y="T3"/>
              </a:cxn>
              <a:cxn ang="0">
                <a:pos x="T4" y="T5"/>
              </a:cxn>
              <a:cxn ang="0">
                <a:pos x="T6" y="T7"/>
              </a:cxn>
              <a:cxn ang="0">
                <a:pos x="T8" y="T9"/>
              </a:cxn>
              <a:cxn ang="0">
                <a:pos x="T10" y="T11"/>
              </a:cxn>
            </a:cxnLst>
            <a:rect l="0" t="0" r="r" b="b"/>
            <a:pathLst>
              <a:path w="274" h="630">
                <a:moveTo>
                  <a:pt x="0" y="0"/>
                </a:moveTo>
                <a:lnTo>
                  <a:pt x="0" y="315"/>
                </a:lnTo>
                <a:lnTo>
                  <a:pt x="0" y="630"/>
                </a:lnTo>
                <a:lnTo>
                  <a:pt x="274" y="471"/>
                </a:lnTo>
                <a:lnTo>
                  <a:pt x="274" y="157"/>
                </a:lnTo>
                <a:lnTo>
                  <a:pt x="0" y="0"/>
                </a:lnTo>
                <a:close/>
              </a:path>
            </a:pathLst>
          </a:custGeom>
          <a:gradFill>
            <a:gsLst>
              <a:gs pos="0">
                <a:srgbClr val="C35844"/>
              </a:gs>
              <a:gs pos="92000">
                <a:srgbClr val="8A4B54"/>
              </a:gs>
            </a:gsLst>
            <a:lin ang="5400000" scaled="1"/>
          </a:gradFill>
          <a:ln>
            <a:noFill/>
          </a:ln>
        </p:spPr>
        <p:txBody>
          <a:bodyPr vert="horz" wrap="square" lIns="91440" tIns="45720" rIns="91440" bIns="45720" numCol="1" anchor="t" anchorCtr="0" compatLnSpc="1">
            <a:prstTxWarp prst="textNoShape">
              <a:avLst/>
            </a:prstTxWarp>
          </a:bodyPr>
          <a:lstStyle/>
          <a:p>
            <a:pPr lv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1" name="Picture Placeholder 13">
            <a:extLst>
              <a:ext uri="{FF2B5EF4-FFF2-40B4-BE49-F238E27FC236}">
                <a16:creationId xmlns:a16="http://schemas.microsoft.com/office/drawing/2014/main" id="{B27FB25A-25C1-1145-91A1-08CB3FC40AE3}"/>
              </a:ext>
            </a:extLst>
          </p:cNvPr>
          <p:cNvSpPr>
            <a:spLocks noGrp="1"/>
          </p:cNvSpPr>
          <p:nvPr>
            <p:ph type="pic" sz="quarter" idx="10"/>
          </p:nvPr>
        </p:nvSpPr>
        <p:spPr>
          <a:xfrm>
            <a:off x="0" y="2"/>
            <a:ext cx="5235878" cy="6857999"/>
          </a:xfrm>
          <a:custGeom>
            <a:avLst/>
            <a:gdLst>
              <a:gd name="connsiteX0" fmla="*/ 750460 w 5235878"/>
              <a:gd name="connsiteY0" fmla="*/ 6019914 h 6857999"/>
              <a:gd name="connsiteX1" fmla="*/ 750460 w 5235878"/>
              <a:gd name="connsiteY1" fmla="*/ 6412896 h 6857999"/>
              <a:gd name="connsiteX2" fmla="*/ 1087656 w 5235878"/>
              <a:gd name="connsiteY2" fmla="*/ 6215785 h 6857999"/>
              <a:gd name="connsiteX3" fmla="*/ 4065891 w 5235878"/>
              <a:gd name="connsiteY3" fmla="*/ 5358483 h 6857999"/>
              <a:gd name="connsiteX4" fmla="*/ 4065891 w 5235878"/>
              <a:gd name="connsiteY4" fmla="*/ 5784421 h 6857999"/>
              <a:gd name="connsiteX5" fmla="*/ 3700419 w 5235878"/>
              <a:gd name="connsiteY5" fmla="*/ 5570780 h 6857999"/>
              <a:gd name="connsiteX6" fmla="*/ 2573632 w 5235878"/>
              <a:gd name="connsiteY6" fmla="*/ 4532742 h 6857999"/>
              <a:gd name="connsiteX7" fmla="*/ 2233956 w 5235878"/>
              <a:gd name="connsiteY7" fmla="*/ 4726134 h 6857999"/>
              <a:gd name="connsiteX8" fmla="*/ 2233956 w 5235878"/>
              <a:gd name="connsiteY8" fmla="*/ 5116636 h 6857999"/>
              <a:gd name="connsiteX9" fmla="*/ 2573632 w 5235878"/>
              <a:gd name="connsiteY9" fmla="*/ 5316226 h 6857999"/>
              <a:gd name="connsiteX10" fmla="*/ 2573632 w 5235878"/>
              <a:gd name="connsiteY10" fmla="*/ 4925724 h 6857999"/>
              <a:gd name="connsiteX11" fmla="*/ 4436740 w 5235878"/>
              <a:gd name="connsiteY11" fmla="*/ 3431686 h 6857999"/>
              <a:gd name="connsiteX12" fmla="*/ 4802213 w 5235878"/>
              <a:gd name="connsiteY12" fmla="*/ 3645327 h 6857999"/>
              <a:gd name="connsiteX13" fmla="*/ 4436740 w 5235878"/>
              <a:gd name="connsiteY13" fmla="*/ 3857624 h 6857999"/>
              <a:gd name="connsiteX14" fmla="*/ 4068579 w 5235878"/>
              <a:gd name="connsiteY14" fmla="*/ 3645327 h 6857999"/>
              <a:gd name="connsiteX15" fmla="*/ 3346500 w 5235878"/>
              <a:gd name="connsiteY15" fmla="*/ 2809931 h 6857999"/>
              <a:gd name="connsiteX16" fmla="*/ 3346500 w 5235878"/>
              <a:gd name="connsiteY16" fmla="*/ 3202913 h 6857999"/>
              <a:gd name="connsiteX17" fmla="*/ 3686176 w 5235878"/>
              <a:gd name="connsiteY17" fmla="*/ 3007041 h 6857999"/>
              <a:gd name="connsiteX18" fmla="*/ 1465119 w 5235878"/>
              <a:gd name="connsiteY18" fmla="*/ 1729739 h 6857999"/>
              <a:gd name="connsiteX19" fmla="*/ 1125444 w 5235878"/>
              <a:gd name="connsiteY19" fmla="*/ 1925609 h 6857999"/>
              <a:gd name="connsiteX20" fmla="*/ 1465119 w 5235878"/>
              <a:gd name="connsiteY20" fmla="*/ 2125199 h 6857999"/>
              <a:gd name="connsiteX21" fmla="*/ 1125444 w 5235878"/>
              <a:gd name="connsiteY21" fmla="*/ 1087369 h 6857999"/>
              <a:gd name="connsiteX22" fmla="*/ 1125444 w 5235878"/>
              <a:gd name="connsiteY22" fmla="*/ 1480351 h 6857999"/>
              <a:gd name="connsiteX23" fmla="*/ 1465120 w 5235878"/>
              <a:gd name="connsiteY23" fmla="*/ 1284480 h 6857999"/>
              <a:gd name="connsiteX24" fmla="*/ 3703106 w 5235878"/>
              <a:gd name="connsiteY24" fmla="*/ 891654 h 6857999"/>
              <a:gd name="connsiteX25" fmla="*/ 3365910 w 5235878"/>
              <a:gd name="connsiteY25" fmla="*/ 1090004 h 6857999"/>
              <a:gd name="connsiteX26" fmla="*/ 3365910 w 5235878"/>
              <a:gd name="connsiteY26" fmla="*/ 1482986 h 6857999"/>
              <a:gd name="connsiteX27" fmla="*/ 3703106 w 5235878"/>
              <a:gd name="connsiteY27" fmla="*/ 1680096 h 6857999"/>
              <a:gd name="connsiteX28" fmla="*/ 4040302 w 5235878"/>
              <a:gd name="connsiteY28" fmla="*/ 1482986 h 6857999"/>
              <a:gd name="connsiteX29" fmla="*/ 3703106 w 5235878"/>
              <a:gd name="connsiteY29" fmla="*/ 1287115 h 6857999"/>
              <a:gd name="connsiteX30" fmla="*/ 736322 w 5235878"/>
              <a:gd name="connsiteY30" fmla="*/ 445102 h 6857999"/>
              <a:gd name="connsiteX31" fmla="*/ 399126 w 5235878"/>
              <a:gd name="connsiteY31" fmla="*/ 642213 h 6857999"/>
              <a:gd name="connsiteX32" fmla="*/ 736322 w 5235878"/>
              <a:gd name="connsiteY32" fmla="*/ 838084 h 6857999"/>
              <a:gd name="connsiteX33" fmla="*/ 1073518 w 5235878"/>
              <a:gd name="connsiteY33" fmla="*/ 642213 h 6857999"/>
              <a:gd name="connsiteX34" fmla="*/ 4434052 w 5235878"/>
              <a:gd name="connsiteY34" fmla="*/ 428625 h 6857999"/>
              <a:gd name="connsiteX35" fmla="*/ 4434052 w 5235878"/>
              <a:gd name="connsiteY35" fmla="*/ 858594 h 6857999"/>
              <a:gd name="connsiteX36" fmla="*/ 4068580 w 5235878"/>
              <a:gd name="connsiteY36" fmla="*/ 642266 h 6857999"/>
              <a:gd name="connsiteX37" fmla="*/ 370849 w 5235878"/>
              <a:gd name="connsiteY37" fmla="*/ 0 h 6857999"/>
              <a:gd name="connsiteX38" fmla="*/ 3321508 w 5235878"/>
              <a:gd name="connsiteY38" fmla="*/ 0 h 6857999"/>
              <a:gd name="connsiteX39" fmla="*/ 3321508 w 5235878"/>
              <a:gd name="connsiteY39" fmla="*/ 216327 h 6857999"/>
              <a:gd name="connsiteX40" fmla="*/ 3696387 w 5235878"/>
              <a:gd name="connsiteY40" fmla="*/ 428624 h 6857999"/>
              <a:gd name="connsiteX41" fmla="*/ 3696387 w 5235878"/>
              <a:gd name="connsiteY41" fmla="*/ 854562 h 6857999"/>
              <a:gd name="connsiteX42" fmla="*/ 4065891 w 5235878"/>
              <a:gd name="connsiteY42" fmla="*/ 1073577 h 6857999"/>
              <a:gd name="connsiteX43" fmla="*/ 4065891 w 5235878"/>
              <a:gd name="connsiteY43" fmla="*/ 3642639 h 6857999"/>
              <a:gd name="connsiteX44" fmla="*/ 3693700 w 5235878"/>
              <a:gd name="connsiteY44" fmla="*/ 3857623 h 6857999"/>
              <a:gd name="connsiteX45" fmla="*/ 3693700 w 5235878"/>
              <a:gd name="connsiteY45" fmla="*/ 4283561 h 6857999"/>
              <a:gd name="connsiteX46" fmla="*/ 3325539 w 5235878"/>
              <a:gd name="connsiteY46" fmla="*/ 4499889 h 6857999"/>
              <a:gd name="connsiteX47" fmla="*/ 3325539 w 5235878"/>
              <a:gd name="connsiteY47" fmla="*/ 5354452 h 6857999"/>
              <a:gd name="connsiteX48" fmla="*/ 2957377 w 5235878"/>
              <a:gd name="connsiteY48" fmla="*/ 5570780 h 6857999"/>
              <a:gd name="connsiteX49" fmla="*/ 2957377 w 5235878"/>
              <a:gd name="connsiteY49" fmla="*/ 6852624 h 6857999"/>
              <a:gd name="connsiteX50" fmla="*/ 2957377 w 5235878"/>
              <a:gd name="connsiteY50" fmla="*/ 6857998 h 6857999"/>
              <a:gd name="connsiteX51" fmla="*/ 2960065 w 5235878"/>
              <a:gd name="connsiteY51" fmla="*/ 6857998 h 6857999"/>
              <a:gd name="connsiteX52" fmla="*/ 5235878 w 5235878"/>
              <a:gd name="connsiteY52" fmla="*/ 6857998 h 6857999"/>
              <a:gd name="connsiteX53" fmla="*/ 5235878 w 5235878"/>
              <a:gd name="connsiteY53" fmla="*/ 6857999 h 6857999"/>
              <a:gd name="connsiteX54" fmla="*/ 0 w 5235878"/>
              <a:gd name="connsiteY54" fmla="*/ 6857999 h 6857999"/>
              <a:gd name="connsiteX55" fmla="*/ 0 w 5235878"/>
              <a:gd name="connsiteY55" fmla="*/ 6857998 h 6857999"/>
              <a:gd name="connsiteX56" fmla="*/ 368162 w 5235878"/>
              <a:gd name="connsiteY56" fmla="*/ 6857998 h 6857999"/>
              <a:gd name="connsiteX57" fmla="*/ 368162 w 5235878"/>
              <a:gd name="connsiteY57" fmla="*/ 5787108 h 6857999"/>
              <a:gd name="connsiteX58" fmla="*/ 736323 w 5235878"/>
              <a:gd name="connsiteY58" fmla="*/ 5574811 h 6857999"/>
              <a:gd name="connsiteX59" fmla="*/ 736323 w 5235878"/>
              <a:gd name="connsiteY59" fmla="*/ 3431686 h 6857999"/>
              <a:gd name="connsiteX60" fmla="*/ 368162 w 5235878"/>
              <a:gd name="connsiteY60" fmla="*/ 3212670 h 6857999"/>
              <a:gd name="connsiteX61" fmla="*/ 368162 w 5235878"/>
              <a:gd name="connsiteY61" fmla="*/ 2358109 h 6857999"/>
              <a:gd name="connsiteX62" fmla="*/ 739009 w 5235878"/>
              <a:gd name="connsiteY62" fmla="*/ 2145813 h 6857999"/>
              <a:gd name="connsiteX63" fmla="*/ 739009 w 5235878"/>
              <a:gd name="connsiteY63" fmla="*/ 1713156 h 6857999"/>
              <a:gd name="connsiteX64" fmla="*/ 368162 w 5235878"/>
              <a:gd name="connsiteY64" fmla="*/ 1499515 h 6857999"/>
              <a:gd name="connsiteX65" fmla="*/ 370849 w 5235878"/>
              <a:gd name="connsiteY65" fmla="*/ 1068203 h 6857999"/>
              <a:gd name="connsiteX66" fmla="*/ 0 w 5235878"/>
              <a:gd name="connsiteY66" fmla="*/ 854562 h 6857999"/>
              <a:gd name="connsiteX67" fmla="*/ 0 w 5235878"/>
              <a:gd name="connsiteY67" fmla="*/ 428624 h 6857999"/>
              <a:gd name="connsiteX68" fmla="*/ 370849 w 5235878"/>
              <a:gd name="connsiteY68" fmla="*/ 216327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235878" h="6857999">
                <a:moveTo>
                  <a:pt x="750460" y="6019914"/>
                </a:moveTo>
                <a:lnTo>
                  <a:pt x="750460" y="6412896"/>
                </a:lnTo>
                <a:lnTo>
                  <a:pt x="1087656" y="6215785"/>
                </a:lnTo>
                <a:close/>
                <a:moveTo>
                  <a:pt x="4065891" y="5358483"/>
                </a:moveTo>
                <a:lnTo>
                  <a:pt x="4065891" y="5784421"/>
                </a:lnTo>
                <a:lnTo>
                  <a:pt x="3700419" y="5570780"/>
                </a:lnTo>
                <a:close/>
                <a:moveTo>
                  <a:pt x="2573632" y="4532742"/>
                </a:moveTo>
                <a:lnTo>
                  <a:pt x="2233956" y="4726134"/>
                </a:lnTo>
                <a:lnTo>
                  <a:pt x="2233956" y="5116636"/>
                </a:lnTo>
                <a:lnTo>
                  <a:pt x="2573632" y="5316226"/>
                </a:lnTo>
                <a:lnTo>
                  <a:pt x="2573632" y="4925724"/>
                </a:lnTo>
                <a:close/>
                <a:moveTo>
                  <a:pt x="4436740" y="3431686"/>
                </a:moveTo>
                <a:lnTo>
                  <a:pt x="4802213" y="3645327"/>
                </a:lnTo>
                <a:lnTo>
                  <a:pt x="4436740" y="3857624"/>
                </a:lnTo>
                <a:lnTo>
                  <a:pt x="4068579" y="3645327"/>
                </a:lnTo>
                <a:close/>
                <a:moveTo>
                  <a:pt x="3346500" y="2809931"/>
                </a:moveTo>
                <a:lnTo>
                  <a:pt x="3346500" y="3202913"/>
                </a:lnTo>
                <a:lnTo>
                  <a:pt x="3686176" y="3007041"/>
                </a:lnTo>
                <a:close/>
                <a:moveTo>
                  <a:pt x="1465119" y="1729739"/>
                </a:moveTo>
                <a:lnTo>
                  <a:pt x="1125444" y="1925609"/>
                </a:lnTo>
                <a:lnTo>
                  <a:pt x="1465119" y="2125199"/>
                </a:lnTo>
                <a:close/>
                <a:moveTo>
                  <a:pt x="1125444" y="1087369"/>
                </a:moveTo>
                <a:lnTo>
                  <a:pt x="1125444" y="1480351"/>
                </a:lnTo>
                <a:lnTo>
                  <a:pt x="1465120" y="1284480"/>
                </a:lnTo>
                <a:close/>
                <a:moveTo>
                  <a:pt x="3703106" y="891654"/>
                </a:moveTo>
                <a:lnTo>
                  <a:pt x="3365910" y="1090004"/>
                </a:lnTo>
                <a:lnTo>
                  <a:pt x="3365910" y="1482986"/>
                </a:lnTo>
                <a:lnTo>
                  <a:pt x="3703106" y="1680096"/>
                </a:lnTo>
                <a:lnTo>
                  <a:pt x="4040302" y="1482986"/>
                </a:lnTo>
                <a:lnTo>
                  <a:pt x="3703106" y="1287115"/>
                </a:lnTo>
                <a:close/>
                <a:moveTo>
                  <a:pt x="736322" y="445102"/>
                </a:moveTo>
                <a:lnTo>
                  <a:pt x="399126" y="642213"/>
                </a:lnTo>
                <a:lnTo>
                  <a:pt x="736322" y="838084"/>
                </a:lnTo>
                <a:lnTo>
                  <a:pt x="1073518" y="642213"/>
                </a:lnTo>
                <a:close/>
                <a:moveTo>
                  <a:pt x="4434052" y="428625"/>
                </a:moveTo>
                <a:lnTo>
                  <a:pt x="4434052" y="858594"/>
                </a:lnTo>
                <a:lnTo>
                  <a:pt x="4068580" y="642266"/>
                </a:lnTo>
                <a:close/>
                <a:moveTo>
                  <a:pt x="370849" y="0"/>
                </a:moveTo>
                <a:lnTo>
                  <a:pt x="3321508" y="0"/>
                </a:lnTo>
                <a:lnTo>
                  <a:pt x="3321508" y="216327"/>
                </a:lnTo>
                <a:lnTo>
                  <a:pt x="3696387" y="428624"/>
                </a:lnTo>
                <a:lnTo>
                  <a:pt x="3696387" y="854562"/>
                </a:lnTo>
                <a:lnTo>
                  <a:pt x="4065891" y="1073577"/>
                </a:lnTo>
                <a:lnTo>
                  <a:pt x="4065891" y="3642639"/>
                </a:lnTo>
                <a:lnTo>
                  <a:pt x="3693700" y="3857623"/>
                </a:lnTo>
                <a:lnTo>
                  <a:pt x="3693700" y="4283561"/>
                </a:lnTo>
                <a:lnTo>
                  <a:pt x="3325539" y="4499889"/>
                </a:lnTo>
                <a:lnTo>
                  <a:pt x="3325539" y="5354452"/>
                </a:lnTo>
                <a:lnTo>
                  <a:pt x="2957377" y="5570780"/>
                </a:lnTo>
                <a:lnTo>
                  <a:pt x="2957377" y="6852624"/>
                </a:lnTo>
                <a:lnTo>
                  <a:pt x="2957377" y="6857998"/>
                </a:lnTo>
                <a:lnTo>
                  <a:pt x="2960065" y="6857998"/>
                </a:lnTo>
                <a:lnTo>
                  <a:pt x="5235878" y="6857998"/>
                </a:lnTo>
                <a:lnTo>
                  <a:pt x="5235878" y="6857999"/>
                </a:lnTo>
                <a:lnTo>
                  <a:pt x="0" y="6857999"/>
                </a:lnTo>
                <a:lnTo>
                  <a:pt x="0" y="6857998"/>
                </a:lnTo>
                <a:lnTo>
                  <a:pt x="368162" y="6857998"/>
                </a:lnTo>
                <a:lnTo>
                  <a:pt x="368162" y="5787108"/>
                </a:lnTo>
                <a:lnTo>
                  <a:pt x="736323" y="5574811"/>
                </a:lnTo>
                <a:lnTo>
                  <a:pt x="736323" y="3431686"/>
                </a:lnTo>
                <a:lnTo>
                  <a:pt x="368162" y="3212670"/>
                </a:lnTo>
                <a:lnTo>
                  <a:pt x="368162" y="2358109"/>
                </a:lnTo>
                <a:lnTo>
                  <a:pt x="739009" y="2145813"/>
                </a:lnTo>
                <a:lnTo>
                  <a:pt x="739009" y="1713156"/>
                </a:lnTo>
                <a:lnTo>
                  <a:pt x="368162" y="1499515"/>
                </a:lnTo>
                <a:lnTo>
                  <a:pt x="370849" y="1068203"/>
                </a:lnTo>
                <a:lnTo>
                  <a:pt x="0" y="854562"/>
                </a:lnTo>
                <a:lnTo>
                  <a:pt x="0" y="428624"/>
                </a:lnTo>
                <a:lnTo>
                  <a:pt x="370849" y="216327"/>
                </a:lnTo>
                <a:close/>
              </a:path>
            </a:pathLst>
          </a:custGeom>
        </p:spPr>
        <p:txBody>
          <a:bodyPr wrap="square">
            <a:noAutofit/>
          </a:bodyPr>
          <a:lstStyle>
            <a:lvl1pPr marL="0" indent="0">
              <a:buNone/>
              <a:defRPr sz="120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to add picture</a:t>
            </a:r>
            <a:endParaRPr lang="ar-SA"/>
          </a:p>
        </p:txBody>
      </p:sp>
      <p:sp>
        <p:nvSpPr>
          <p:cNvPr id="18" name="Title 1">
            <a:extLst>
              <a:ext uri="{FF2B5EF4-FFF2-40B4-BE49-F238E27FC236}">
                <a16:creationId xmlns:a16="http://schemas.microsoft.com/office/drawing/2014/main" id="{31BBA778-64E4-9C4C-8806-1A8C377A972B}"/>
              </a:ext>
            </a:extLst>
          </p:cNvPr>
          <p:cNvSpPr>
            <a:spLocks noGrp="1"/>
          </p:cNvSpPr>
          <p:nvPr>
            <p:ph type="title" hasCustomPrompt="1"/>
          </p:nvPr>
        </p:nvSpPr>
        <p:spPr>
          <a:xfrm>
            <a:off x="6497354" y="1496859"/>
            <a:ext cx="3796431" cy="2674307"/>
          </a:xfrm>
        </p:spPr>
        <p:txBody>
          <a:bodyPr lIns="0" tIns="0" rIns="0" bIns="0" anchor="b">
            <a:noAutofit/>
          </a:bodyPr>
          <a:lstStyle>
            <a:lvl1pPr>
              <a:defRPr sz="2800" b="0">
                <a:latin typeface="Arial" panose="020B0604020202020204" pitchFamily="34" charset="0"/>
                <a:ea typeface="+mj-ea"/>
                <a:cs typeface="Arial" panose="020B0604020202020204" pitchFamily="34" charset="0"/>
                <a:sym typeface="Arial" panose="020B0604020202020204" pitchFamily="34" charset="0"/>
              </a:defRPr>
            </a:lvl1pPr>
          </a:lstStyle>
          <a:p>
            <a:r>
              <a:rPr lang="en-US"/>
              <a:t>Divider title goes here</a:t>
            </a:r>
            <a:endParaRPr lang="ar-SA"/>
          </a:p>
        </p:txBody>
      </p:sp>
      <p:sp>
        <p:nvSpPr>
          <p:cNvPr id="20" name="Text Placeholder 2">
            <a:extLst>
              <a:ext uri="{FF2B5EF4-FFF2-40B4-BE49-F238E27FC236}">
                <a16:creationId xmlns:a16="http://schemas.microsoft.com/office/drawing/2014/main" id="{F91C9796-CB07-194B-B62D-8AC12B657E13}"/>
              </a:ext>
            </a:extLst>
          </p:cNvPr>
          <p:cNvSpPr>
            <a:spLocks noGrp="1"/>
          </p:cNvSpPr>
          <p:nvPr>
            <p:ph type="body" idx="1" hasCustomPrompt="1"/>
          </p:nvPr>
        </p:nvSpPr>
        <p:spPr>
          <a:xfrm>
            <a:off x="6497354" y="4280981"/>
            <a:ext cx="1679013" cy="1688273"/>
          </a:xfrm>
        </p:spPr>
        <p:txBody>
          <a:bodyPr lIns="0" tIns="0" rIns="0" bIns="0">
            <a:noAutofit/>
          </a:bodyPr>
          <a:lstStyle>
            <a:lvl1pPr marL="0" indent="0">
              <a:buNone/>
              <a:defRPr sz="12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
        <p:nvSpPr>
          <p:cNvPr id="22" name="Text Placeholder 2">
            <a:extLst>
              <a:ext uri="{FF2B5EF4-FFF2-40B4-BE49-F238E27FC236}">
                <a16:creationId xmlns:a16="http://schemas.microsoft.com/office/drawing/2014/main" id="{7940D795-3B71-D04C-A435-56E00A183FAE}"/>
              </a:ext>
            </a:extLst>
          </p:cNvPr>
          <p:cNvSpPr>
            <a:spLocks noGrp="1"/>
          </p:cNvSpPr>
          <p:nvPr>
            <p:ph type="body" idx="11" hasCustomPrompt="1"/>
          </p:nvPr>
        </p:nvSpPr>
        <p:spPr>
          <a:xfrm>
            <a:off x="8614772" y="4280981"/>
            <a:ext cx="1679013" cy="1688273"/>
          </a:xfrm>
        </p:spPr>
        <p:txBody>
          <a:bodyPr lIns="0" tIns="0" rIns="0" bIns="0">
            <a:noAutofit/>
          </a:bodyPr>
          <a:lstStyle>
            <a:lvl1pPr marL="0" indent="0">
              <a:buNone/>
              <a:defRPr sz="12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Tree>
    <p:extLst>
      <p:ext uri="{BB962C8B-B14F-4D97-AF65-F5344CB8AC3E}">
        <p14:creationId xmlns:p14="http://schemas.microsoft.com/office/powerpoint/2010/main" val="1674132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2551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8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09A520-7CEC-426E-B2CA-4F5F2C211A2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bwMode="blackWhite">
          <a:xfrm>
            <a:off x="695325" y="3826800"/>
            <a:ext cx="10764836" cy="2041200"/>
          </a:xfrm>
        </p:spPr>
        <p:txBody>
          <a:bodyPr anchor="t">
            <a:noAutofit/>
          </a:bodyPr>
          <a:lstStyle>
            <a:lvl1pPr>
              <a:defRPr sz="5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95325" y="3680016"/>
            <a:ext cx="1149326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70A1375A-DCBE-477B-889E-0977C65F1BB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232058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4846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0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12507-129C-4183-8806-06ACE8BDAEC3}"/>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rgbClr val="273370">
                  <a:lumMod val="100000"/>
                </a:srgbClr>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9" name="Footer Placeholder 4">
            <a:extLst>
              <a:ext uri="{FF2B5EF4-FFF2-40B4-BE49-F238E27FC236}">
                <a16:creationId xmlns:a16="http://schemas.microsoft.com/office/drawing/2014/main" id="{32062484-948A-4BC3-865B-7BEABC001836}"/>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96142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242155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32"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7BAC85-A7A7-4960-97E0-1917DD42A2F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3"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66" name="Group 65"/>
          <p:cNvGrpSpPr/>
          <p:nvPr userDrawn="1"/>
        </p:nvGrpSpPr>
        <p:grpSpPr>
          <a:xfrm>
            <a:off x="397420" y="550751"/>
            <a:ext cx="462459" cy="576905"/>
            <a:chOff x="324330" y="590555"/>
            <a:chExt cx="608641" cy="759263"/>
          </a:xfrm>
        </p:grpSpPr>
        <p:sp>
          <p:nvSpPr>
            <p:cNvPr id="67" name="Parallelogram 66"/>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8" name="Rectangle 67"/>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11" name="Footer Placeholder 4">
            <a:extLst>
              <a:ext uri="{FF2B5EF4-FFF2-40B4-BE49-F238E27FC236}">
                <a16:creationId xmlns:a16="http://schemas.microsoft.com/office/drawing/2014/main" id="{E4445429-B723-42A9-B1C4-5E530DDA9A3B}"/>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
        <p:nvSpPr>
          <p:cNvPr id="15" name="Text Placeholder 3">
            <a:extLst>
              <a:ext uri="{FF2B5EF4-FFF2-40B4-BE49-F238E27FC236}">
                <a16:creationId xmlns:a16="http://schemas.microsoft.com/office/drawing/2014/main" id="{8E7414D5-490B-4BB7-8FC7-26F1A91E306B}"/>
              </a:ext>
            </a:extLst>
          </p:cNvPr>
          <p:cNvSpPr>
            <a:spLocks noGrp="1"/>
          </p:cNvSpPr>
          <p:nvPr>
            <p:ph idx="1" hasCustomPrompt="1"/>
          </p:nvPr>
        </p:nvSpPr>
        <p:spPr>
          <a:xfrm>
            <a:off x="695325" y="1959430"/>
            <a:ext cx="10764836" cy="3978184"/>
          </a:xfrm>
          <a:prstGeom prst="rect">
            <a:avLst/>
          </a:prstGeom>
        </p:spPr>
        <p:txBody>
          <a:bodyPr vert="horz" lIns="0" tIns="0" rIns="0" bIns="0" rtlCol="0">
            <a:noAutofit/>
          </a:bodyPr>
          <a:lstStyle>
            <a:lvl1pPr>
              <a:defRPr sz="1400">
                <a:latin typeface="Arial" panose="020B0604020202020204" pitchFamily="34" charset="0"/>
                <a:ea typeface="+mn-ea"/>
                <a:cs typeface="Arial" panose="020B0604020202020204" pitchFamily="34" charset="0"/>
                <a:sym typeface="Arial" panose="020B0604020202020204" pitchFamily="34" charset="0"/>
              </a:defRPr>
            </a:lvl1pPr>
            <a:lvl2pPr>
              <a:defRPr sz="1400">
                <a:latin typeface="+mn-lt"/>
                <a:ea typeface="+mn-ea"/>
                <a:cs typeface="+mn-cs"/>
                <a:sym typeface="+mn-lt"/>
              </a:defRPr>
            </a:lvl2pPr>
            <a:lvl3pPr>
              <a:defRPr sz="1400">
                <a:latin typeface="+mn-lt"/>
                <a:ea typeface="+mn-ea"/>
                <a:cs typeface="+mn-cs"/>
                <a:sym typeface="+mn-lt"/>
              </a:defRPr>
            </a:lvl3pPr>
          </a:lstStyle>
          <a:p>
            <a:pPr lvl="0"/>
            <a:r>
              <a:rPr lang="en-US"/>
              <a:t>Edit Master text styles</a:t>
            </a:r>
          </a:p>
        </p:txBody>
      </p:sp>
    </p:spTree>
    <p:extLst>
      <p:ext uri="{BB962C8B-B14F-4D97-AF65-F5344CB8AC3E}">
        <p14:creationId xmlns:p14="http://schemas.microsoft.com/office/powerpoint/2010/main" val="1581207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8209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3058E2-654C-4943-A842-B045826FB62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p:cNvSpPr>
            <a:spLocks noGrp="1"/>
          </p:cNvSpPr>
          <p:nvPr>
            <p:ph type="title" hasCustomPrompt="1"/>
          </p:nvPr>
        </p:nvSpPr>
        <p:spPr bwMode="ltGray">
          <a:xfrm>
            <a:off x="695325" y="1544274"/>
            <a:ext cx="3452400" cy="1495794"/>
          </a:xfrm>
          <a:noFill/>
        </p:spPr>
        <p:txBody>
          <a:bodyPr wrap="square" lIns="0" tIns="0" rIns="320040" bIns="0" anchor="b">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433431CA-EF7D-4BD3-9189-190FAA23A614}"/>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679229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21065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8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9"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796A6AAC-4F51-45EA-8027-FBF6CD717D38}"/>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830843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EFFB2A1-91F1-4E25-979E-A2E04890AA1E}"/>
              </a:ext>
            </a:extLst>
          </p:cNvPr>
          <p:cNvPicPr>
            <a:picLocks noChangeAspect="1"/>
          </p:cNvPicPr>
          <p:nvPr userDrawn="1"/>
        </p:nvPicPr>
        <p:blipFill rotWithShape="1">
          <a:blip r:embed="rId4">
            <a:duotone>
              <a:prstClr val="black"/>
              <a:srgbClr val="BEBEBE">
                <a:tint val="45000"/>
                <a:satMod val="400000"/>
              </a:srgbClr>
            </a:duotone>
          </a:blip>
          <a:srcRect l="5423"/>
          <a:stretch/>
        </p:blipFill>
        <p:spPr>
          <a:xfrm>
            <a:off x="0" y="0"/>
            <a:ext cx="12192000" cy="6858000"/>
          </a:xfrm>
          <a:prstGeom prst="rect">
            <a:avLst/>
          </a:prstGeom>
        </p:spPr>
      </p:pic>
      <p:sp>
        <p:nvSpPr>
          <p:cNvPr id="8" name="Rectangle 7">
            <a:extLst>
              <a:ext uri="{FF2B5EF4-FFF2-40B4-BE49-F238E27FC236}">
                <a16:creationId xmlns:a16="http://schemas.microsoft.com/office/drawing/2014/main" id="{5F9A0C22-E711-4648-9FCB-E45E8E434E41}"/>
              </a:ext>
            </a:extLst>
          </p:cNvPr>
          <p:cNvSpPr/>
          <p:nvPr userDrawn="1"/>
        </p:nvSpPr>
        <p:spPr>
          <a:xfrm>
            <a:off x="3048" y="0"/>
            <a:ext cx="12188952" cy="6858000"/>
          </a:xfrm>
          <a:prstGeom prst="rect">
            <a:avLst/>
          </a:prstGeom>
          <a:solidFill>
            <a:schemeClr val="accent3">
              <a:alpha val="74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98743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40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9" name="Date Placeholder 2"/>
          <p:cNvSpPr>
            <a:spLocks noGrp="1"/>
          </p:cNvSpPr>
          <p:nvPr>
            <p:ph type="dt" sz="half" idx="10"/>
          </p:nvPr>
        </p:nvSpPr>
        <p:spPr>
          <a:xfrm>
            <a:off x="9677400" y="6461970"/>
            <a:ext cx="1482051" cy="153888"/>
          </a:xfrm>
          <a:prstGeom prst="rect">
            <a:avLst/>
          </a:prstGeom>
        </p:spPr>
        <p:txBody>
          <a:bodyPr/>
          <a:lstStyle>
            <a:lvl1pPr>
              <a:defRPr>
                <a:solidFill>
                  <a:srgbClr val="8C8C8C"/>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36D6F29D-DE9D-4743-AF90-DCEDCC3B9E5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669147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13520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2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407247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0615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52"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CC736E-F5ED-4412-AFAD-BD08C41F041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2" name="TextBox 11"/>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A321573E-17E0-4ADD-9098-B126877D7CE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838394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16082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4A771F-A12C-4B8A-8A55-AC1E3438DEA4}"/>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4" name="Title 1"/>
          <p:cNvSpPr>
            <a:spLocks noGrp="1"/>
          </p:cNvSpPr>
          <p:nvPr>
            <p:ph type="title" hasCustomPrompt="1"/>
          </p:nvPr>
        </p:nvSpPr>
        <p:spPr bwMode="blackWhite">
          <a:xfrm>
            <a:off x="695325" y="1804650"/>
            <a:ext cx="6182227" cy="3286800"/>
          </a:xfrm>
          <a:prstGeom prst="rect">
            <a:avLst/>
          </a:prstGeom>
        </p:spPr>
        <p:txBody>
          <a:bodyPr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title</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2" name="Footer Placeholder 4">
            <a:extLst>
              <a:ext uri="{FF2B5EF4-FFF2-40B4-BE49-F238E27FC236}">
                <a16:creationId xmlns:a16="http://schemas.microsoft.com/office/drawing/2014/main" id="{A3AC3489-A506-41EF-B0DD-559BD45F7A58}"/>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271955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884048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7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0368C4-D68E-47CF-9671-7D99823E7821}"/>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2"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5850949" cy="909637"/>
          </a:xfrm>
        </p:spPr>
        <p:txBody>
          <a:bodyPr lIns="0" tIns="0" rIns="0" bIns="0" anchor="t" anchorCtr="0">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9" name="TextBox 18"/>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71" name="Group 70"/>
          <p:cNvGrpSpPr/>
          <p:nvPr userDrawn="1"/>
        </p:nvGrpSpPr>
        <p:grpSpPr>
          <a:xfrm>
            <a:off x="293898" y="558343"/>
            <a:ext cx="669505" cy="835189"/>
            <a:chOff x="324330" y="584804"/>
            <a:chExt cx="608641" cy="759263"/>
          </a:xfrm>
        </p:grpSpPr>
        <p:sp>
          <p:nvSpPr>
            <p:cNvPr id="72" name="Parallelogram 71"/>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3" name="Rectangle 72"/>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4" name="Footer Placeholder 4">
            <a:extLst>
              <a:ext uri="{FF2B5EF4-FFF2-40B4-BE49-F238E27FC236}">
                <a16:creationId xmlns:a16="http://schemas.microsoft.com/office/drawing/2014/main" id="{C4E2DF32-7AC8-4113-99F9-20C3217346C5}"/>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250892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218088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50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646291E-DE10-4364-A565-9610F0EE1DAF}"/>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9" name="Picture 8"/>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0"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4267795" cy="909637"/>
          </a:xfrm>
        </p:spPr>
        <p:txBody>
          <a:bodyPr lIns="0" tIns="0" rIns="0" bIns="0" anchor="t" anchorCtr="0">
            <a:noAutofit/>
          </a:bodyPr>
          <a:lstStyle>
            <a:lvl1pPr rtl="0">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9"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78" name="Group 77"/>
          <p:cNvGrpSpPr/>
          <p:nvPr userDrawn="1"/>
        </p:nvGrpSpPr>
        <p:grpSpPr>
          <a:xfrm>
            <a:off x="293898" y="558343"/>
            <a:ext cx="669505" cy="835189"/>
            <a:chOff x="324330" y="584804"/>
            <a:chExt cx="608641" cy="759263"/>
          </a:xfrm>
        </p:grpSpPr>
        <p:sp>
          <p:nvSpPr>
            <p:cNvPr id="79" name="Parallelogram 78"/>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0" name="Rectangle 79"/>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1481914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543950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524"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0DC9F28-E4E2-418E-B810-B9C9EBBE7113}"/>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7" name="Title 4"/>
          <p:cNvSpPr>
            <a:spLocks noGrp="1"/>
          </p:cNvSpPr>
          <p:nvPr>
            <p:ph type="title" hasCustomPrompt="1"/>
          </p:nvPr>
        </p:nvSpPr>
        <p:spPr>
          <a:xfrm>
            <a:off x="695325" y="2681103"/>
            <a:ext cx="3062556" cy="1495794"/>
          </a:xfrm>
          <a:prstGeom prst="rect">
            <a:avLst/>
          </a:prstGeom>
        </p:spPr>
        <p:txBody>
          <a:bodyPr anchor="ctr">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Tree>
    <p:extLst>
      <p:ext uri="{BB962C8B-B14F-4D97-AF65-F5344CB8AC3E}">
        <p14:creationId xmlns:p14="http://schemas.microsoft.com/office/powerpoint/2010/main" val="303002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0680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4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697BA8-C793-46E3-A441-E6E8A66948B0}"/>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95325" y="2681103"/>
            <a:ext cx="3062556" cy="1495794"/>
          </a:xfrm>
          <a:prstGeom prst="rect">
            <a:avLst/>
          </a:prstGeom>
        </p:spPr>
        <p:txBody>
          <a:bodyPr anchor="ctr">
            <a:noAutofit/>
          </a:bodyPr>
          <a:lstStyle>
            <a:lvl1pPr>
              <a:defRPr sz="3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Rectangle 12"/>
          <p:cNvSpPr/>
          <p:nvPr userDrawn="1"/>
        </p:nvSpPr>
        <p:spPr bwMode="white">
          <a:xfrm>
            <a:off x="3343701" y="-1309"/>
            <a:ext cx="8848299"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1" name="TextBox 20"/>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2" name="Footer Placeholder 4">
            <a:extLst>
              <a:ext uri="{FF2B5EF4-FFF2-40B4-BE49-F238E27FC236}">
                <a16:creationId xmlns:a16="http://schemas.microsoft.com/office/drawing/2014/main" id="{15C6CB8B-AAF3-4F17-9B5A-2845E3D61F0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64995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431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7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743F5F-AA84-4D9A-87EA-C7897D7C6ABE}"/>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95325" y="1785600"/>
            <a:ext cx="4323075" cy="3286800"/>
          </a:xfrm>
          <a:prstGeom prst="rect">
            <a:avLst/>
          </a:prstGeom>
          <a:noFill/>
        </p:spPr>
        <p:txBody>
          <a:bodyPr wrap="square" lIns="0" tIns="0" rIns="320040" bIns="0"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5" name="Footer Placeholder 4">
            <a:extLst>
              <a:ext uri="{FF2B5EF4-FFF2-40B4-BE49-F238E27FC236}">
                <a16:creationId xmlns:a16="http://schemas.microsoft.com/office/drawing/2014/main" id="{33E26693-A5AA-4A1A-8AB7-E0F6CB510DFF}"/>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793663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14097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4A771F-A12C-4B8A-8A55-AC1E3438DEA4}"/>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4" name="Title 1"/>
          <p:cNvSpPr>
            <a:spLocks noGrp="1"/>
          </p:cNvSpPr>
          <p:nvPr>
            <p:ph type="title" hasCustomPrompt="1"/>
          </p:nvPr>
        </p:nvSpPr>
        <p:spPr bwMode="blackWhite">
          <a:xfrm>
            <a:off x="695325" y="1804650"/>
            <a:ext cx="6182227" cy="3286800"/>
          </a:xfrm>
          <a:prstGeom prst="rect">
            <a:avLst/>
          </a:prstGeom>
        </p:spPr>
        <p:txBody>
          <a:bodyPr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title</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2" name="Footer Placeholder 4">
            <a:extLst>
              <a:ext uri="{FF2B5EF4-FFF2-40B4-BE49-F238E27FC236}">
                <a16:creationId xmlns:a16="http://schemas.microsoft.com/office/drawing/2014/main" id="{A3AC3489-A506-41EF-B0DD-559BD45F7A58}"/>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035503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117617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62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A0DB28-C9BC-4A51-B21F-A5F83D9D3E64}"/>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Title 4"/>
          <p:cNvSpPr>
            <a:spLocks noGrp="1"/>
          </p:cNvSpPr>
          <p:nvPr>
            <p:ph type="title" hasCustomPrompt="1"/>
          </p:nvPr>
        </p:nvSpPr>
        <p:spPr>
          <a:xfrm>
            <a:off x="695325" y="2681103"/>
            <a:ext cx="3127881" cy="1495794"/>
          </a:xfrm>
          <a:prstGeom prst="rect">
            <a:avLst/>
          </a:prstGeom>
        </p:spPr>
        <p:txBody>
          <a:bodyPr anchor="ctr">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1" name="Footer Placeholder 4">
            <a:extLst>
              <a:ext uri="{FF2B5EF4-FFF2-40B4-BE49-F238E27FC236}">
                <a16:creationId xmlns:a16="http://schemas.microsoft.com/office/drawing/2014/main" id="{57079B08-A88D-408E-A4FB-63466C5C3EF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504195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117435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44"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F16EF6E-2943-4A67-952E-1123FA7CB4D7}"/>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6"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5870679"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23" name="TextBox 2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67" name="Group 66"/>
          <p:cNvGrpSpPr/>
          <p:nvPr userDrawn="1"/>
        </p:nvGrpSpPr>
        <p:grpSpPr>
          <a:xfrm>
            <a:off x="397420" y="550751"/>
            <a:ext cx="462459" cy="576905"/>
            <a:chOff x="324330" y="590555"/>
            <a:chExt cx="608641" cy="759263"/>
          </a:xfrm>
        </p:grpSpPr>
        <p:sp>
          <p:nvSpPr>
            <p:cNvPr id="68" name="Parallelogram 67"/>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9" name="Rectangle 68"/>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13" name="Footer Placeholder 4">
            <a:extLst>
              <a:ext uri="{FF2B5EF4-FFF2-40B4-BE49-F238E27FC236}">
                <a16:creationId xmlns:a16="http://schemas.microsoft.com/office/drawing/2014/main" id="{B5561E72-799C-47D6-8F43-2823139F310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6121549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003881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68"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F937071-16F6-49D0-8637-D169075F0F0E}"/>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8"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7695733"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3"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67" name="Group 66"/>
          <p:cNvGrpSpPr/>
          <p:nvPr userDrawn="1"/>
        </p:nvGrpSpPr>
        <p:grpSpPr>
          <a:xfrm>
            <a:off x="397420" y="550751"/>
            <a:ext cx="462459" cy="576905"/>
            <a:chOff x="324330" y="590555"/>
            <a:chExt cx="608641" cy="759263"/>
          </a:xfrm>
        </p:grpSpPr>
        <p:sp>
          <p:nvSpPr>
            <p:cNvPr id="68" name="Parallelogram 67"/>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9" name="Rectangle 68"/>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13" name="Footer Placeholder 4">
            <a:extLst>
              <a:ext uri="{FF2B5EF4-FFF2-40B4-BE49-F238E27FC236}">
                <a16:creationId xmlns:a16="http://schemas.microsoft.com/office/drawing/2014/main" id="{0DBECB86-27DD-4597-AFC5-6FD277B0963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222142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5569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9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B0258A4-73B9-4C1E-A4CB-001C7774026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50000">
                <a:srgbClr val="FF6633"/>
              </a:gs>
              <a:gs pos="0">
                <a:srgbClr val="FDBD4D"/>
              </a:gs>
              <a:gs pos="100000">
                <a:srgbClr val="273370"/>
              </a:gs>
            </a:gsLst>
            <a:lin ang="8100000" scaled="0"/>
          </a:gra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695325" y="512763"/>
            <a:ext cx="6191475" cy="909637"/>
          </a:xfrm>
        </p:spPr>
        <p:txBody>
          <a:bodyPr lIns="0" tIns="0" rIns="0" bIns="0" anchor="t" anchorCtr="0">
            <a:noAutofit/>
          </a:bodyPr>
          <a:lstStyle>
            <a:lvl1pPr>
              <a:defRPr sz="3400">
                <a:solidFill>
                  <a:srgbClr val="FFFFFF"/>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28FD4921-A06A-4B9C-A2E5-6B875F7A0CE2}"/>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994695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700157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A0DB28-C9BC-4A51-B21F-A5F83D9D3E64}"/>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Title 4"/>
          <p:cNvSpPr>
            <a:spLocks noGrp="1"/>
          </p:cNvSpPr>
          <p:nvPr>
            <p:ph type="title" hasCustomPrompt="1"/>
          </p:nvPr>
        </p:nvSpPr>
        <p:spPr>
          <a:xfrm>
            <a:off x="695325" y="2681103"/>
            <a:ext cx="3127881" cy="1495794"/>
          </a:xfrm>
          <a:prstGeom prst="rect">
            <a:avLst/>
          </a:prstGeom>
        </p:spPr>
        <p:txBody>
          <a:bodyPr anchor="ctr">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1" name="Footer Placeholder 4">
            <a:extLst>
              <a:ext uri="{FF2B5EF4-FFF2-40B4-BE49-F238E27FC236}">
                <a16:creationId xmlns:a16="http://schemas.microsoft.com/office/drawing/2014/main" id="{57079B08-A88D-408E-A4FB-63466C5C3EF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0323223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42382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71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04C449-08C3-4D76-B123-D2CF2903CE5B}"/>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95325" y="1785600"/>
            <a:ext cx="4388400" cy="3286800"/>
          </a:xfrm>
          <a:prstGeom prst="rect">
            <a:avLst/>
          </a:prstGeom>
          <a:noFill/>
        </p:spPr>
        <p:txBody>
          <a:bodyPr wrap="square" lIns="0" tIns="0" rIns="320040" bIns="0"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4" name="Footer Placeholder 4">
            <a:extLst>
              <a:ext uri="{FF2B5EF4-FFF2-40B4-BE49-F238E27FC236}">
                <a16:creationId xmlns:a16="http://schemas.microsoft.com/office/drawing/2014/main" id="{0FC45F85-C8B5-4ACD-9DA5-8AE13108572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986157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96521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4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D4C3107-4412-41E1-813C-6AFC8D21638D}"/>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5" name="Title 1"/>
          <p:cNvSpPr>
            <a:spLocks noGrp="1"/>
          </p:cNvSpPr>
          <p:nvPr>
            <p:ph type="title" hasCustomPrompt="1"/>
          </p:nvPr>
        </p:nvSpPr>
        <p:spPr bwMode="black">
          <a:xfrm>
            <a:off x="695325" y="1785600"/>
            <a:ext cx="6247552" cy="3286800"/>
          </a:xfrm>
          <a:prstGeom prst="rect">
            <a:avLst/>
          </a:prstGeom>
        </p:spPr>
        <p:txBody>
          <a:bodyPr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3" name="Footer Placeholder 4">
            <a:extLst>
              <a:ext uri="{FF2B5EF4-FFF2-40B4-BE49-F238E27FC236}">
                <a16:creationId xmlns:a16="http://schemas.microsoft.com/office/drawing/2014/main" id="{1C2617A8-F868-4DAB-9699-EA6828B5BDE2}"/>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310732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2731550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64" name="think-cell Slide" r:id="rId6" imgW="352" imgH="355" progId="TCLayout.ActiveDocument.1">
                  <p:embed/>
                </p:oleObj>
              </mc:Choice>
              <mc:Fallback>
                <p:oleObj name="think-cell Slide" r:id="rId6" imgW="352" imgH="355"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7753F9-F39C-4B13-917D-DD2415153001}"/>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8" name="Title 1"/>
          <p:cNvSpPr>
            <a:spLocks noGrp="1"/>
          </p:cNvSpPr>
          <p:nvPr>
            <p:ph type="title" hasCustomPrompt="1"/>
          </p:nvPr>
        </p:nvSpPr>
        <p:spPr>
          <a:xfrm>
            <a:off x="695325" y="3826333"/>
            <a:ext cx="10764836"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1" name="TextBox 10"/>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344F081F-DFD4-4E2E-9056-89696760EC05}"/>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4992035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30295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8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EF0D14-F75B-4E98-A66F-85C6DA42089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6" name="Rectangle 5"/>
          <p:cNvSpPr/>
          <p:nvPr userDrawn="1"/>
        </p:nvSpPr>
        <p:spPr bwMode="white">
          <a:xfrm>
            <a:off x="695325"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rgbClr val="273370">
                  <a:lumMod val="100000"/>
                </a:srgbClr>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95325" y="3826333"/>
            <a:ext cx="10764836"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3"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DC5B5F85-037A-4505-9EC5-C5E020D4EFB7}"/>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726053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6594943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8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TextBox 19"/>
          <p:cNvSpPr txBox="1"/>
          <p:nvPr userDrawn="1"/>
        </p:nvSpPr>
        <p:spPr>
          <a:xfrm>
            <a:off x="695325"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Arial" panose="020B0604020202020204" pitchFamily="34" charset="0"/>
                <a:ea typeface="+mn-ea"/>
                <a:cs typeface="Arial" panose="020B0604020202020204" pitchFamily="34" charset="0"/>
                <a:sym typeface="Arial" panose="020B0604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344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9125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3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Isosceles Triangle 9"/>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DFDDE4B7-1CAB-C84F-90FD-9F68D636888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492125" y="1079647"/>
            <a:ext cx="7912966" cy="299929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11500" b="0" baseline="0" dirty="0">
                <a:latin typeface="Arial" panose="020B0604020202020204" pitchFamily="34" charset="0"/>
                <a:cs typeface="Arial" panose="020B0604020202020204" pitchFamily="34" charset="0"/>
                <a:sym typeface="Arial" panose="020B0604020202020204" pitchFamily="34" charset="0"/>
              </a:rPr>
              <a:t>Thank  you</a:t>
            </a:r>
            <a:endParaRPr lang="en-US" sz="115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45663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Rocket">
    <p:bg>
      <p:bgPr>
        <a:solidFill>
          <a:schemeClr val="bg1"/>
        </a:solidFill>
        <a:effectLst/>
      </p:bgPr>
    </p:bg>
    <p:spTree>
      <p:nvGrpSpPr>
        <p:cNvPr id="1" name=""/>
        <p:cNvGrpSpPr/>
        <p:nvPr/>
      </p:nvGrpSpPr>
      <p:grpSpPr>
        <a:xfrm>
          <a:off x="0" y="0"/>
          <a:ext cx="0" cy="0"/>
          <a:chOff x="0" y="0"/>
          <a:chExt cx="0" cy="0"/>
        </a:xfrm>
      </p:grpSpPr>
      <p:pic>
        <p:nvPicPr>
          <p:cNvPr id="12" name="Picture 2" descr="Related image">
            <a:extLst>
              <a:ext uri="{FF2B5EF4-FFF2-40B4-BE49-F238E27FC236}">
                <a16:creationId xmlns:a16="http://schemas.microsoft.com/office/drawing/2014/main" id="{2CA4B35C-9310-4F50-A6EE-59B08C2BB511}"/>
              </a:ext>
            </a:extLst>
          </p:cNvPr>
          <p:cNvPicPr>
            <a:picLocks noChangeAspect="1" noChangeArrowheads="1"/>
          </p:cNvPicPr>
          <p:nvPr userDrawn="1"/>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l="17312" b="1735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C473FD08-1A0E-43A7-9E7C-FD0A80421B85}"/>
              </a:ext>
            </a:extLst>
          </p:cNvPr>
          <p:cNvSpPr/>
          <p:nvPr userDrawn="1"/>
        </p:nvSpPr>
        <p:spPr>
          <a:xfrm>
            <a:off x="0" y="0"/>
            <a:ext cx="12192000" cy="6858000"/>
          </a:xfrm>
          <a:prstGeom prst="rect">
            <a:avLst/>
          </a:prstGeom>
          <a:solidFill>
            <a:schemeClr val="bg1">
              <a:alpha val="51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05970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60"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grpSp>
        <p:nvGrpSpPr>
          <p:cNvPr id="9" name="Group 8"/>
          <p:cNvGrpSpPr/>
          <p:nvPr userDrawn="1"/>
        </p:nvGrpSpPr>
        <p:grpSpPr>
          <a:xfrm>
            <a:off x="293898" y="558343"/>
            <a:ext cx="669505" cy="835189"/>
            <a:chOff x="324330" y="584804"/>
            <a:chExt cx="608641" cy="759263"/>
          </a:xfrm>
        </p:grpSpPr>
        <p:sp>
          <p:nvSpPr>
            <p:cNvPr id="10" name="Parallelogram 9"/>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Rectangle 10"/>
            <p:cNvSpPr/>
            <p:nvPr/>
          </p:nvSpPr>
          <p:spPr>
            <a:xfrm rot="8954161" flipH="1" flipV="1">
              <a:off x="324330" y="904674"/>
              <a:ext cx="608641" cy="112731"/>
            </a:xfrm>
            <a:prstGeom prst="rect">
              <a:avLst/>
            </a:prstGeom>
            <a:solidFill>
              <a:srgbClr val="E9E9E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agline</a:t>
            </a:r>
            <a:endParaRPr lang="ar-SA"/>
          </a:p>
        </p:txBody>
      </p:sp>
    </p:spTree>
    <p:extLst>
      <p:ext uri="{BB962C8B-B14F-4D97-AF65-F5344CB8AC3E}">
        <p14:creationId xmlns:p14="http://schemas.microsoft.com/office/powerpoint/2010/main" val="594076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6006" y="1333501"/>
            <a:ext cx="11134586" cy="4741863"/>
          </a:xfrm>
          <a:prstGeom prst="rect">
            <a:avLst/>
          </a:prstGeom>
        </p:spPr>
        <p:txBody>
          <a:bodyPr/>
          <a:lstStyle>
            <a:lvl1pPr marL="231752" indent="-231752" algn="l" defTabSz="914309" rtl="0" eaLnBrk="1" latinLnBrk="0" hangingPunct="1">
              <a:lnSpc>
                <a:spcPct val="120000"/>
              </a:lnSpc>
              <a:spcBef>
                <a:spcPts val="1000"/>
              </a:spcBef>
              <a:buClr>
                <a:schemeClr val="accent4"/>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solidFill>
                  <a:sysClr val="windowText" lastClr="000000"/>
                </a:solidFill>
              </a:rPr>
              <a:t>Level 1</a:t>
            </a:r>
            <a:endParaRPr lang="en-US"/>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a:t>Fifth level</a:t>
            </a:r>
          </a:p>
        </p:txBody>
      </p:sp>
    </p:spTree>
    <p:extLst>
      <p:ext uri="{BB962C8B-B14F-4D97-AF65-F5344CB8AC3E}">
        <p14:creationId xmlns:p14="http://schemas.microsoft.com/office/powerpoint/2010/main" val="156584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55187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90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8" name="Picture 17">
            <a:extLst>
              <a:ext uri="{FF2B5EF4-FFF2-40B4-BE49-F238E27FC236}">
                <a16:creationId xmlns:a16="http://schemas.microsoft.com/office/drawing/2014/main" id="{DFDDE4B7-1CAB-C84F-90FD-9F68D636888D}"/>
              </a:ext>
            </a:extLst>
          </p:cNvPr>
          <p:cNvPicPr>
            <a:picLocks noChangeAspect="1"/>
          </p:cNvPicPr>
          <p:nvPr userDrawn="1"/>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9338" y="538582"/>
            <a:ext cx="2207259" cy="825698"/>
          </a:xfrm>
          <a:prstGeom prst="rect">
            <a:avLst/>
          </a:prstGeom>
        </p:spPr>
      </p:pic>
      <p:sp>
        <p:nvSpPr>
          <p:cNvPr id="16" name="Title 1">
            <a:extLst>
              <a:ext uri="{FF2B5EF4-FFF2-40B4-BE49-F238E27FC236}">
                <a16:creationId xmlns:a16="http://schemas.microsoft.com/office/drawing/2014/main" id="{118B6C8E-8090-4E6B-AB72-A7933543EF90}"/>
              </a:ext>
            </a:extLst>
          </p:cNvPr>
          <p:cNvSpPr>
            <a:spLocks noGrp="1"/>
          </p:cNvSpPr>
          <p:nvPr>
            <p:ph type="ctrTitle" hasCustomPrompt="1"/>
          </p:nvPr>
        </p:nvSpPr>
        <p:spPr>
          <a:xfrm>
            <a:off x="695325" y="1715590"/>
            <a:ext cx="5400675" cy="1994624"/>
          </a:xfrm>
        </p:spPr>
        <p:txBody>
          <a:bodyPr lIns="0" tIns="0" rIns="0" bIns="0" anchor="b">
            <a:noAutofit/>
          </a:bodyPr>
          <a:lstStyle>
            <a:lvl1pPr algn="l">
              <a:defRPr sz="4400">
                <a:solidFill>
                  <a:schemeClr val="tx2"/>
                </a:solidFill>
                <a:latin typeface="+mj-lt"/>
                <a:ea typeface="+mj-ea"/>
                <a:cs typeface="+mj-cs"/>
                <a:sym typeface="+mj-lt"/>
              </a:defRPr>
            </a:lvl1pPr>
          </a:lstStyle>
          <a:p>
            <a:r>
              <a:rPr lang="en-US"/>
              <a:t>Presentation title goes here</a:t>
            </a:r>
            <a:endParaRPr lang="ar-SA"/>
          </a:p>
        </p:txBody>
      </p:sp>
      <p:sp>
        <p:nvSpPr>
          <p:cNvPr id="17" name="Subtitle 2">
            <a:extLst>
              <a:ext uri="{FF2B5EF4-FFF2-40B4-BE49-F238E27FC236}">
                <a16:creationId xmlns:a16="http://schemas.microsoft.com/office/drawing/2014/main" id="{4D5EE6E8-A3DF-421A-AFA2-A19B30A699D8}"/>
              </a:ext>
            </a:extLst>
          </p:cNvPr>
          <p:cNvSpPr>
            <a:spLocks noGrp="1"/>
          </p:cNvSpPr>
          <p:nvPr>
            <p:ph type="subTitle" idx="1" hasCustomPrompt="1"/>
          </p:nvPr>
        </p:nvSpPr>
        <p:spPr>
          <a:xfrm>
            <a:off x="695325" y="3878566"/>
            <a:ext cx="5400676" cy="863751"/>
          </a:xfrm>
        </p:spPr>
        <p:txBody>
          <a:bodyPr lIns="0" tIns="0" rIns="0" bIns="0">
            <a:noAutofit/>
          </a:bodyPr>
          <a:lstStyle>
            <a:lvl1pPr marL="0" indent="0" algn="l">
              <a:buNone/>
              <a:defRPr sz="2400">
                <a:solidFill>
                  <a:schemeClr val="tx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9" name="Text Placeholder 4">
            <a:extLst>
              <a:ext uri="{FF2B5EF4-FFF2-40B4-BE49-F238E27FC236}">
                <a16:creationId xmlns:a16="http://schemas.microsoft.com/office/drawing/2014/main" id="{9D229DDF-28A8-4374-8833-6BC778351496}"/>
              </a:ext>
            </a:extLst>
          </p:cNvPr>
          <p:cNvSpPr>
            <a:spLocks noGrp="1"/>
          </p:cNvSpPr>
          <p:nvPr>
            <p:ph type="body" sz="quarter" idx="13" hasCustomPrompt="1"/>
          </p:nvPr>
        </p:nvSpPr>
        <p:spPr>
          <a:xfrm>
            <a:off x="695325" y="5024348"/>
            <a:ext cx="5400675" cy="365125"/>
          </a:xfrm>
        </p:spPr>
        <p:txBody>
          <a:bodyPr/>
          <a:lstStyle>
            <a:lvl1pPr>
              <a:defRPr sz="1800"/>
            </a:lvl1pPr>
          </a:lstStyle>
          <a:p>
            <a:pPr lvl="0"/>
            <a:r>
              <a:rPr lang="en-US"/>
              <a:t>Date</a:t>
            </a:r>
          </a:p>
        </p:txBody>
      </p:sp>
      <p:pic>
        <p:nvPicPr>
          <p:cNvPr id="21" name="Picture 20">
            <a:extLst>
              <a:ext uri="{FF2B5EF4-FFF2-40B4-BE49-F238E27FC236}">
                <a16:creationId xmlns:a16="http://schemas.microsoft.com/office/drawing/2014/main" id="{76637089-851E-4A1D-BAAE-7C5AA19730E6}"/>
              </a:ext>
            </a:extLst>
          </p:cNvPr>
          <p:cNvPicPr>
            <a:picLocks noChangeAspect="1"/>
          </p:cNvPicPr>
          <p:nvPr userDrawn="1"/>
        </p:nvPicPr>
        <p:blipFill>
          <a:blip r:embed="rId8" cstate="email">
            <a:extLst>
              <a:ext uri="{28A0092B-C50C-407E-A947-70E740481C1C}">
                <a14:useLocalDpi xmlns:a14="http://schemas.microsoft.com/office/drawing/2010/main"/>
              </a:ext>
            </a:extLst>
          </a:blip>
          <a:srcRect/>
          <a:stretch/>
        </p:blipFill>
        <p:spPr>
          <a:xfrm>
            <a:off x="6869441" y="1539551"/>
            <a:ext cx="3869460" cy="3778898"/>
          </a:xfrm>
          <a:prstGeom prst="rect">
            <a:avLst/>
          </a:prstGeom>
        </p:spPr>
      </p:pic>
    </p:spTree>
    <p:extLst>
      <p:ext uri="{BB962C8B-B14F-4D97-AF65-F5344CB8AC3E}">
        <p14:creationId xmlns:p14="http://schemas.microsoft.com/office/powerpoint/2010/main" val="2624253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69434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3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a:extLst>
              <a:ext uri="{FF2B5EF4-FFF2-40B4-BE49-F238E27FC236}">
                <a16:creationId xmlns:a16="http://schemas.microsoft.com/office/drawing/2014/main" id="{DFDDE4B7-1CAB-C84F-90FD-9F68D636888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1322950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69868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a:extLst>
              <a:ext uri="{FF2B5EF4-FFF2-40B4-BE49-F238E27FC236}">
                <a16:creationId xmlns:a16="http://schemas.microsoft.com/office/drawing/2014/main" id="{DFDDE4B7-1CAB-C84F-90FD-9F68D636888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40118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678485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0"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F16EF6E-2943-4A67-952E-1123FA7CB4D7}"/>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6"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5870679"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23" name="TextBox 2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67" name="Group 66"/>
          <p:cNvGrpSpPr/>
          <p:nvPr userDrawn="1"/>
        </p:nvGrpSpPr>
        <p:grpSpPr>
          <a:xfrm>
            <a:off x="397420" y="550751"/>
            <a:ext cx="462459" cy="576905"/>
            <a:chOff x="324330" y="590555"/>
            <a:chExt cx="608641" cy="759263"/>
          </a:xfrm>
        </p:grpSpPr>
        <p:sp>
          <p:nvSpPr>
            <p:cNvPr id="68" name="Parallelogram 67"/>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9" name="Rectangle 68"/>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13" name="Footer Placeholder 4">
            <a:extLst>
              <a:ext uri="{FF2B5EF4-FFF2-40B4-BE49-F238E27FC236}">
                <a16:creationId xmlns:a16="http://schemas.microsoft.com/office/drawing/2014/main" id="{B5561E72-799C-47D6-8F43-2823139F310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4200648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5752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56"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2F22FD0-6596-4843-9D87-E0FE7F322A8B}"/>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1"/>
          <p:cNvSpPr>
            <a:spLocks/>
          </p:cNvSpPr>
          <p:nvPr userDrawn="1"/>
        </p:nvSpPr>
        <p:spPr bwMode="auto">
          <a:xfrm>
            <a:off x="2" y="1"/>
            <a:ext cx="12191999" cy="6857998"/>
          </a:xfrm>
          <a:custGeom>
            <a:avLst/>
            <a:gdLst>
              <a:gd name="connsiteX0" fmla="*/ 4431989 w 12191999"/>
              <a:gd name="connsiteY0" fmla="*/ 5571788 h 6857998"/>
              <a:gd name="connsiteX1" fmla="*/ 4431989 w 12191999"/>
              <a:gd name="connsiteY1" fmla="*/ 5997393 h 6857998"/>
              <a:gd name="connsiteX2" fmla="*/ 4797291 w 12191999"/>
              <a:gd name="connsiteY2" fmla="*/ 5783919 h 6857998"/>
              <a:gd name="connsiteX3" fmla="*/ 370675 w 12191999"/>
              <a:gd name="connsiteY3" fmla="*/ 4927340 h 6857998"/>
              <a:gd name="connsiteX4" fmla="*/ 2686 w 12191999"/>
              <a:gd name="connsiteY4" fmla="*/ 5139471 h 6857998"/>
              <a:gd name="connsiteX5" fmla="*/ 370675 w 12191999"/>
              <a:gd name="connsiteY5" fmla="*/ 5352945 h 6857998"/>
              <a:gd name="connsiteX6" fmla="*/ 6275965 w 12191999"/>
              <a:gd name="connsiteY6" fmla="*/ 3218211 h 6857998"/>
              <a:gd name="connsiteX7" fmla="*/ 5912005 w 12191999"/>
              <a:gd name="connsiteY7" fmla="*/ 3430342 h 6857998"/>
              <a:gd name="connsiteX8" fmla="*/ 6275965 w 12191999"/>
              <a:gd name="connsiteY8" fmla="*/ 3643816 h 6857998"/>
              <a:gd name="connsiteX9" fmla="*/ 370675 w 12191999"/>
              <a:gd name="connsiteY9" fmla="*/ 3218211 h 6857998"/>
              <a:gd name="connsiteX10" fmla="*/ 370675 w 12191999"/>
              <a:gd name="connsiteY10" fmla="*/ 4076133 h 6857998"/>
              <a:gd name="connsiteX11" fmla="*/ 735978 w 12191999"/>
              <a:gd name="connsiteY11" fmla="*/ 4285578 h 6857998"/>
              <a:gd name="connsiteX12" fmla="*/ 735978 w 12191999"/>
              <a:gd name="connsiteY12" fmla="*/ 3430342 h 6857998"/>
              <a:gd name="connsiteX13" fmla="*/ 5171997 w 12191999"/>
              <a:gd name="connsiteY13" fmla="*/ 1290239 h 6857998"/>
              <a:gd name="connsiteX14" fmla="*/ 5171997 w 12191999"/>
              <a:gd name="connsiteY14" fmla="*/ 1715843 h 6857998"/>
              <a:gd name="connsiteX15" fmla="*/ 5537299 w 12191999"/>
              <a:gd name="connsiteY15" fmla="*/ 1502370 h 6857998"/>
              <a:gd name="connsiteX16" fmla="*/ 370675 w 12191999"/>
              <a:gd name="connsiteY16" fmla="*/ 645791 h 6857998"/>
              <a:gd name="connsiteX17" fmla="*/ 370675 w 12191999"/>
              <a:gd name="connsiteY17" fmla="*/ 1071396 h 6857998"/>
              <a:gd name="connsiteX18" fmla="*/ 735978 w 12191999"/>
              <a:gd name="connsiteY18" fmla="*/ 857922 h 6857998"/>
              <a:gd name="connsiteX19" fmla="*/ 2958689 w 12191999"/>
              <a:gd name="connsiteY19" fmla="*/ 0 h 6857998"/>
              <a:gd name="connsiteX20" fmla="*/ 12191999 w 12191999"/>
              <a:gd name="connsiteY20" fmla="*/ 0 h 6857998"/>
              <a:gd name="connsiteX21" fmla="*/ 12191999 w 12191999"/>
              <a:gd name="connsiteY21" fmla="*/ 6857998 h 6857998"/>
              <a:gd name="connsiteX22" fmla="*/ 4431991 w 12191999"/>
              <a:gd name="connsiteY22" fmla="*/ 6857998 h 6857998"/>
              <a:gd name="connsiteX23" fmla="*/ 4797291 w 12191999"/>
              <a:gd name="connsiteY23" fmla="*/ 6641840 h 6857998"/>
              <a:gd name="connsiteX24" fmla="*/ 4431989 w 12191999"/>
              <a:gd name="connsiteY24" fmla="*/ 6429709 h 6857998"/>
              <a:gd name="connsiteX25" fmla="*/ 4431989 w 12191999"/>
              <a:gd name="connsiteY25" fmla="*/ 6857998 h 6857998"/>
              <a:gd name="connsiteX26" fmla="*/ 3691983 w 12191999"/>
              <a:gd name="connsiteY26" fmla="*/ 6857998 h 6857998"/>
              <a:gd name="connsiteX27" fmla="*/ 3691983 w 12191999"/>
              <a:gd name="connsiteY27" fmla="*/ 6848600 h 6857998"/>
              <a:gd name="connsiteX28" fmla="*/ 3691983 w 12191999"/>
              <a:gd name="connsiteY28" fmla="*/ 6000077 h 6857998"/>
              <a:gd name="connsiteX29" fmla="*/ 5537300 w 12191999"/>
              <a:gd name="connsiteY29" fmla="*/ 4927340 h 6857998"/>
              <a:gd name="connsiteX30" fmla="*/ 5537300 w 12191999"/>
              <a:gd name="connsiteY30" fmla="*/ 3641129 h 6857998"/>
              <a:gd name="connsiteX31" fmla="*/ 5165282 w 12191999"/>
              <a:gd name="connsiteY31" fmla="*/ 3427656 h 6857998"/>
              <a:gd name="connsiteX32" fmla="*/ 5165282 w 12191999"/>
              <a:gd name="connsiteY32" fmla="*/ 2148160 h 6857998"/>
              <a:gd name="connsiteX33" fmla="*/ 4793264 w 12191999"/>
              <a:gd name="connsiteY33" fmla="*/ 1934686 h 6857998"/>
              <a:gd name="connsiteX34" fmla="*/ 4793264 w 12191999"/>
              <a:gd name="connsiteY34" fmla="*/ 1502369 h 6857998"/>
              <a:gd name="connsiteX35" fmla="*/ 4431989 w 12191999"/>
              <a:gd name="connsiteY35" fmla="*/ 1292924 h 6857998"/>
              <a:gd name="connsiteX36" fmla="*/ 4431989 w 12191999"/>
              <a:gd name="connsiteY36" fmla="*/ 857921 h 6857998"/>
              <a:gd name="connsiteX37" fmla="*/ 0 w 12191999"/>
              <a:gd name="connsiteY37" fmla="*/ 0 h 6857998"/>
              <a:gd name="connsiteX38" fmla="*/ 735979 w 12191999"/>
              <a:gd name="connsiteY38" fmla="*/ 0 h 6857998"/>
              <a:gd name="connsiteX39" fmla="*/ 738666 w 12191999"/>
              <a:gd name="connsiteY39" fmla="*/ 0 h 6857998"/>
              <a:gd name="connsiteX40" fmla="*/ 738666 w 12191999"/>
              <a:gd name="connsiteY40" fmla="*/ 1287553 h 6857998"/>
              <a:gd name="connsiteX41" fmla="*/ 367990 w 12191999"/>
              <a:gd name="connsiteY41" fmla="*/ 1499684 h 6857998"/>
              <a:gd name="connsiteX42" fmla="*/ 367990 w 12191999"/>
              <a:gd name="connsiteY42" fmla="*/ 1927973 h 6857998"/>
              <a:gd name="connsiteX43" fmla="*/ 735979 w 12191999"/>
              <a:gd name="connsiteY43" fmla="*/ 2141447 h 6857998"/>
              <a:gd name="connsiteX44" fmla="*/ 735979 w 12191999"/>
              <a:gd name="connsiteY44" fmla="*/ 2573764 h 6857998"/>
              <a:gd name="connsiteX45" fmla="*/ 1107998 w 12191999"/>
              <a:gd name="connsiteY45" fmla="*/ 2789922 h 6857998"/>
              <a:gd name="connsiteX46" fmla="*/ 1107998 w 12191999"/>
              <a:gd name="connsiteY46" fmla="*/ 5783919 h 6857998"/>
              <a:gd name="connsiteX47" fmla="*/ 367990 w 12191999"/>
              <a:gd name="connsiteY47" fmla="*/ 6216236 h 6857998"/>
              <a:gd name="connsiteX48" fmla="*/ 367990 w 12191999"/>
              <a:gd name="connsiteY48" fmla="*/ 6641840 h 6857998"/>
              <a:gd name="connsiteX49" fmla="*/ 738666 w 12191999"/>
              <a:gd name="connsiteY49" fmla="*/ 6425681 h 6857998"/>
              <a:gd name="connsiteX50" fmla="*/ 738666 w 12191999"/>
              <a:gd name="connsiteY50" fmla="*/ 6857998 h 6857998"/>
              <a:gd name="connsiteX51" fmla="*/ 0 w 12191999"/>
              <a:gd name="connsiteY51" fmla="*/ 6857998 h 6857998"/>
              <a:gd name="connsiteX52" fmla="*/ 0 w 12191999"/>
              <a:gd name="connsiteY52" fmla="*/ 4717894 h 6857998"/>
              <a:gd name="connsiteX53" fmla="*/ 365304 w 12191999"/>
              <a:gd name="connsiteY53" fmla="*/ 4504421 h 6857998"/>
              <a:gd name="connsiteX54" fmla="*/ 0 w 12191999"/>
              <a:gd name="connsiteY54" fmla="*/ 4292290 h 6857998"/>
              <a:gd name="connsiteX55" fmla="*/ 0 w 12191999"/>
              <a:gd name="connsiteY55" fmla="*/ 4285577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91999" h="6857998">
                <a:moveTo>
                  <a:pt x="4431989" y="5571788"/>
                </a:moveTo>
                <a:lnTo>
                  <a:pt x="4431989" y="5997393"/>
                </a:lnTo>
                <a:lnTo>
                  <a:pt x="4797291" y="5783919"/>
                </a:lnTo>
                <a:close/>
                <a:moveTo>
                  <a:pt x="370675" y="4927340"/>
                </a:moveTo>
                <a:lnTo>
                  <a:pt x="2686" y="5139471"/>
                </a:lnTo>
                <a:lnTo>
                  <a:pt x="370675" y="5352945"/>
                </a:lnTo>
                <a:close/>
                <a:moveTo>
                  <a:pt x="6275965" y="3218211"/>
                </a:moveTo>
                <a:lnTo>
                  <a:pt x="5912005" y="3430342"/>
                </a:lnTo>
                <a:lnTo>
                  <a:pt x="6275965" y="3643816"/>
                </a:lnTo>
                <a:close/>
                <a:moveTo>
                  <a:pt x="370675" y="3218211"/>
                </a:moveTo>
                <a:lnTo>
                  <a:pt x="370675" y="4076133"/>
                </a:lnTo>
                <a:lnTo>
                  <a:pt x="735978" y="4285578"/>
                </a:lnTo>
                <a:lnTo>
                  <a:pt x="735978" y="3430342"/>
                </a:lnTo>
                <a:close/>
                <a:moveTo>
                  <a:pt x="5171997" y="1290239"/>
                </a:moveTo>
                <a:lnTo>
                  <a:pt x="5171997" y="1715843"/>
                </a:lnTo>
                <a:lnTo>
                  <a:pt x="5537299" y="1502370"/>
                </a:lnTo>
                <a:close/>
                <a:moveTo>
                  <a:pt x="370675" y="645791"/>
                </a:moveTo>
                <a:lnTo>
                  <a:pt x="370675" y="1071396"/>
                </a:lnTo>
                <a:lnTo>
                  <a:pt x="735978" y="857922"/>
                </a:lnTo>
                <a:close/>
                <a:moveTo>
                  <a:pt x="2958689" y="0"/>
                </a:moveTo>
                <a:lnTo>
                  <a:pt x="12191999" y="0"/>
                </a:lnTo>
                <a:lnTo>
                  <a:pt x="12191999" y="6857998"/>
                </a:lnTo>
                <a:lnTo>
                  <a:pt x="4431991" y="6857998"/>
                </a:lnTo>
                <a:lnTo>
                  <a:pt x="4797291" y="6641840"/>
                </a:lnTo>
                <a:lnTo>
                  <a:pt x="4431989" y="6429709"/>
                </a:lnTo>
                <a:lnTo>
                  <a:pt x="4431989" y="6857998"/>
                </a:lnTo>
                <a:lnTo>
                  <a:pt x="3691983" y="6857998"/>
                </a:lnTo>
                <a:lnTo>
                  <a:pt x="3691983" y="6848600"/>
                </a:lnTo>
                <a:lnTo>
                  <a:pt x="3691983" y="6000077"/>
                </a:lnTo>
                <a:lnTo>
                  <a:pt x="5537300" y="4927340"/>
                </a:lnTo>
                <a:lnTo>
                  <a:pt x="5537300" y="3641129"/>
                </a:lnTo>
                <a:lnTo>
                  <a:pt x="5165282" y="3427656"/>
                </a:lnTo>
                <a:lnTo>
                  <a:pt x="5165282" y="2148160"/>
                </a:lnTo>
                <a:lnTo>
                  <a:pt x="4793264" y="1934686"/>
                </a:lnTo>
                <a:lnTo>
                  <a:pt x="4793264" y="1502369"/>
                </a:lnTo>
                <a:lnTo>
                  <a:pt x="4431989" y="1292924"/>
                </a:lnTo>
                <a:lnTo>
                  <a:pt x="4431989" y="857921"/>
                </a:lnTo>
                <a:close/>
                <a:moveTo>
                  <a:pt x="0" y="0"/>
                </a:moveTo>
                <a:lnTo>
                  <a:pt x="735979" y="0"/>
                </a:lnTo>
                <a:lnTo>
                  <a:pt x="738666" y="0"/>
                </a:lnTo>
                <a:lnTo>
                  <a:pt x="738666" y="1287553"/>
                </a:lnTo>
                <a:lnTo>
                  <a:pt x="367990" y="1499684"/>
                </a:lnTo>
                <a:lnTo>
                  <a:pt x="367990" y="1927973"/>
                </a:lnTo>
                <a:lnTo>
                  <a:pt x="735979" y="2141447"/>
                </a:lnTo>
                <a:lnTo>
                  <a:pt x="735979" y="2573764"/>
                </a:lnTo>
                <a:lnTo>
                  <a:pt x="1107998" y="2789922"/>
                </a:lnTo>
                <a:lnTo>
                  <a:pt x="1107998" y="5783919"/>
                </a:lnTo>
                <a:lnTo>
                  <a:pt x="367990" y="6216236"/>
                </a:lnTo>
                <a:lnTo>
                  <a:pt x="367990" y="6641840"/>
                </a:lnTo>
                <a:lnTo>
                  <a:pt x="738666" y="6425681"/>
                </a:lnTo>
                <a:lnTo>
                  <a:pt x="738666" y="6857998"/>
                </a:lnTo>
                <a:lnTo>
                  <a:pt x="0" y="6857998"/>
                </a:lnTo>
                <a:lnTo>
                  <a:pt x="0" y="4717894"/>
                </a:lnTo>
                <a:lnTo>
                  <a:pt x="365304" y="4504421"/>
                </a:lnTo>
                <a:lnTo>
                  <a:pt x="0" y="4292290"/>
                </a:lnTo>
                <a:lnTo>
                  <a:pt x="0" y="4285577"/>
                </a:ln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pPr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3" name="Freeform 7"/>
          <p:cNvSpPr>
            <a:spLocks/>
          </p:cNvSpPr>
          <p:nvPr userDrawn="1"/>
        </p:nvSpPr>
        <p:spPr bwMode="auto">
          <a:xfrm>
            <a:off x="6275966" y="3643816"/>
            <a:ext cx="365303" cy="428290"/>
          </a:xfrm>
          <a:custGeom>
            <a:avLst/>
            <a:gdLst>
              <a:gd name="T0" fmla="*/ 0 w 272"/>
              <a:gd name="T1" fmla="*/ 319 h 319"/>
              <a:gd name="T2" fmla="*/ 0 w 272"/>
              <a:gd name="T3" fmla="*/ 0 h 319"/>
              <a:gd name="T4" fmla="*/ 272 w 272"/>
              <a:gd name="T5" fmla="*/ 161 h 319"/>
              <a:gd name="T6" fmla="*/ 0 w 272"/>
              <a:gd name="T7" fmla="*/ 319 h 319"/>
            </a:gdLst>
            <a:ahLst/>
            <a:cxnLst>
              <a:cxn ang="0">
                <a:pos x="T0" y="T1"/>
              </a:cxn>
              <a:cxn ang="0">
                <a:pos x="T2" y="T3"/>
              </a:cxn>
              <a:cxn ang="0">
                <a:pos x="T4" y="T5"/>
              </a:cxn>
              <a:cxn ang="0">
                <a:pos x="T6" y="T7"/>
              </a:cxn>
            </a:cxnLst>
            <a:rect l="0" t="0" r="r" b="b"/>
            <a:pathLst>
              <a:path w="272" h="319">
                <a:moveTo>
                  <a:pt x="0" y="319"/>
                </a:moveTo>
                <a:lnTo>
                  <a:pt x="0" y="0"/>
                </a:lnTo>
                <a:lnTo>
                  <a:pt x="272" y="161"/>
                </a:lnTo>
                <a:lnTo>
                  <a:pt x="0" y="319"/>
                </a:lnTo>
                <a:close/>
              </a:path>
            </a:pathLst>
          </a:custGeom>
          <a:gradFill>
            <a:gsLst>
              <a:gs pos="0">
                <a:srgbClr val="EB6139"/>
              </a:gs>
              <a:gs pos="100000">
                <a:srgbClr val="D95D3E"/>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4" name="Freeform 8"/>
          <p:cNvSpPr>
            <a:spLocks/>
          </p:cNvSpPr>
          <p:nvPr userDrawn="1"/>
        </p:nvSpPr>
        <p:spPr bwMode="auto">
          <a:xfrm>
            <a:off x="5542673" y="2789922"/>
            <a:ext cx="365303" cy="425605"/>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F7437"/>
              </a:gs>
              <a:gs pos="100000">
                <a:srgbClr val="FF6C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5" name="Freeform 9"/>
          <p:cNvSpPr>
            <a:spLocks/>
          </p:cNvSpPr>
          <p:nvPr userDrawn="1"/>
        </p:nvSpPr>
        <p:spPr bwMode="auto">
          <a:xfrm>
            <a:off x="5539987" y="5783919"/>
            <a:ext cx="365303" cy="425605"/>
          </a:xfrm>
          <a:custGeom>
            <a:avLst/>
            <a:gdLst>
              <a:gd name="T0" fmla="*/ 0 w 272"/>
              <a:gd name="T1" fmla="*/ 317 h 317"/>
              <a:gd name="T2" fmla="*/ 0 w 272"/>
              <a:gd name="T3" fmla="*/ 0 h 317"/>
              <a:gd name="T4" fmla="*/ 272 w 272"/>
              <a:gd name="T5" fmla="*/ 159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9"/>
                </a:lnTo>
                <a:lnTo>
                  <a:pt x="0" y="317"/>
                </a:lnTo>
                <a:close/>
              </a:path>
            </a:pathLst>
          </a:custGeom>
          <a:gradFill>
            <a:gsLst>
              <a:gs pos="0">
                <a:srgbClr val="66425F"/>
              </a:gs>
              <a:gs pos="100000">
                <a:srgbClr val="513E64"/>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6" name="Freeform 12"/>
          <p:cNvSpPr>
            <a:spLocks/>
          </p:cNvSpPr>
          <p:nvPr userDrawn="1"/>
        </p:nvSpPr>
        <p:spPr bwMode="auto">
          <a:xfrm>
            <a:off x="367989" y="2369689"/>
            <a:ext cx="367989" cy="848523"/>
          </a:xfrm>
          <a:custGeom>
            <a:avLst/>
            <a:gdLst>
              <a:gd name="T0" fmla="*/ 2 w 274"/>
              <a:gd name="T1" fmla="*/ 0 h 632"/>
              <a:gd name="T2" fmla="*/ 0 w 274"/>
              <a:gd name="T3" fmla="*/ 317 h 632"/>
              <a:gd name="T4" fmla="*/ 0 w 274"/>
              <a:gd name="T5" fmla="*/ 632 h 632"/>
              <a:gd name="T6" fmla="*/ 274 w 274"/>
              <a:gd name="T7" fmla="*/ 471 h 632"/>
              <a:gd name="T8" fmla="*/ 274 w 274"/>
              <a:gd name="T9" fmla="*/ 156 h 632"/>
              <a:gd name="T10" fmla="*/ 2 w 274"/>
              <a:gd name="T11" fmla="*/ 0 h 632"/>
            </a:gdLst>
            <a:ahLst/>
            <a:cxnLst>
              <a:cxn ang="0">
                <a:pos x="T0" y="T1"/>
              </a:cxn>
              <a:cxn ang="0">
                <a:pos x="T2" y="T3"/>
              </a:cxn>
              <a:cxn ang="0">
                <a:pos x="T4" y="T5"/>
              </a:cxn>
              <a:cxn ang="0">
                <a:pos x="T6" y="T7"/>
              </a:cxn>
              <a:cxn ang="0">
                <a:pos x="T8" y="T9"/>
              </a:cxn>
              <a:cxn ang="0">
                <a:pos x="T10" y="T11"/>
              </a:cxn>
            </a:cxnLst>
            <a:rect l="0" t="0" r="r" b="b"/>
            <a:pathLst>
              <a:path w="274" h="632">
                <a:moveTo>
                  <a:pt x="2" y="0"/>
                </a:moveTo>
                <a:lnTo>
                  <a:pt x="0" y="317"/>
                </a:lnTo>
                <a:lnTo>
                  <a:pt x="0" y="632"/>
                </a:lnTo>
                <a:lnTo>
                  <a:pt x="274" y="471"/>
                </a:lnTo>
                <a:lnTo>
                  <a:pt x="274" y="156"/>
                </a:lnTo>
                <a:lnTo>
                  <a:pt x="2" y="0"/>
                </a:lnTo>
                <a:close/>
              </a:path>
            </a:pathLst>
          </a:custGeom>
          <a:gradFill>
            <a:gsLst>
              <a:gs pos="0">
                <a:srgbClr val="FE7D37"/>
              </a:gs>
              <a:gs pos="100000">
                <a:srgbClr val="FF6D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7" name="Freeform 13"/>
          <p:cNvSpPr>
            <a:spLocks/>
          </p:cNvSpPr>
          <p:nvPr userDrawn="1"/>
        </p:nvSpPr>
        <p:spPr bwMode="auto">
          <a:xfrm>
            <a:off x="367989" y="4927341"/>
            <a:ext cx="367989" cy="847181"/>
          </a:xfrm>
          <a:custGeom>
            <a:avLst/>
            <a:gdLst>
              <a:gd name="T0" fmla="*/ 2 w 274"/>
              <a:gd name="T1" fmla="*/ 0 h 631"/>
              <a:gd name="T2" fmla="*/ 0 w 274"/>
              <a:gd name="T3" fmla="*/ 314 h 631"/>
              <a:gd name="T4" fmla="*/ 0 w 274"/>
              <a:gd name="T5" fmla="*/ 631 h 631"/>
              <a:gd name="T6" fmla="*/ 274 w 274"/>
              <a:gd name="T7" fmla="*/ 471 h 631"/>
              <a:gd name="T8" fmla="*/ 274 w 274"/>
              <a:gd name="T9" fmla="*/ 156 h 631"/>
              <a:gd name="T10" fmla="*/ 2 w 274"/>
              <a:gd name="T11" fmla="*/ 0 h 631"/>
            </a:gdLst>
            <a:ahLst/>
            <a:cxnLst>
              <a:cxn ang="0">
                <a:pos x="T0" y="T1"/>
              </a:cxn>
              <a:cxn ang="0">
                <a:pos x="T2" y="T3"/>
              </a:cxn>
              <a:cxn ang="0">
                <a:pos x="T4" y="T5"/>
              </a:cxn>
              <a:cxn ang="0">
                <a:pos x="T6" y="T7"/>
              </a:cxn>
              <a:cxn ang="0">
                <a:pos x="T8" y="T9"/>
              </a:cxn>
              <a:cxn ang="0">
                <a:pos x="T10" y="T11"/>
              </a:cxn>
            </a:cxnLst>
            <a:rect l="0" t="0" r="r" b="b"/>
            <a:pathLst>
              <a:path w="274" h="631">
                <a:moveTo>
                  <a:pt x="2" y="0"/>
                </a:moveTo>
                <a:lnTo>
                  <a:pt x="0" y="314"/>
                </a:lnTo>
                <a:lnTo>
                  <a:pt x="0" y="631"/>
                </a:lnTo>
                <a:lnTo>
                  <a:pt x="274" y="471"/>
                </a:lnTo>
                <a:lnTo>
                  <a:pt x="274" y="156"/>
                </a:lnTo>
                <a:lnTo>
                  <a:pt x="2" y="0"/>
                </a:lnTo>
                <a:close/>
              </a:path>
            </a:pathLst>
          </a:custGeom>
          <a:gradFill>
            <a:gsLst>
              <a:gs pos="0">
                <a:srgbClr val="994E50"/>
              </a:gs>
              <a:gs pos="100000">
                <a:srgbClr val="7D5B71"/>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8" name="Freeform 14"/>
          <p:cNvSpPr>
            <a:spLocks/>
          </p:cNvSpPr>
          <p:nvPr userDrawn="1"/>
        </p:nvSpPr>
        <p:spPr bwMode="auto">
          <a:xfrm>
            <a:off x="5546702" y="3859974"/>
            <a:ext cx="729264" cy="1286210"/>
          </a:xfrm>
          <a:custGeom>
            <a:avLst/>
            <a:gdLst>
              <a:gd name="T0" fmla="*/ 543 w 543"/>
              <a:gd name="T1" fmla="*/ 799 h 958"/>
              <a:gd name="T2" fmla="*/ 543 w 543"/>
              <a:gd name="T3" fmla="*/ 158 h 958"/>
              <a:gd name="T4" fmla="*/ 272 w 543"/>
              <a:gd name="T5" fmla="*/ 0 h 958"/>
              <a:gd name="T6" fmla="*/ 272 w 543"/>
              <a:gd name="T7" fmla="*/ 641 h 958"/>
              <a:gd name="T8" fmla="*/ 0 w 543"/>
              <a:gd name="T9" fmla="*/ 799 h 958"/>
              <a:gd name="T10" fmla="*/ 272 w 543"/>
              <a:gd name="T11" fmla="*/ 958 h 958"/>
              <a:gd name="T12" fmla="*/ 543 w 543"/>
              <a:gd name="T13" fmla="*/ 799 h 958"/>
            </a:gdLst>
            <a:ahLst/>
            <a:cxnLst>
              <a:cxn ang="0">
                <a:pos x="T0" y="T1"/>
              </a:cxn>
              <a:cxn ang="0">
                <a:pos x="T2" y="T3"/>
              </a:cxn>
              <a:cxn ang="0">
                <a:pos x="T4" y="T5"/>
              </a:cxn>
              <a:cxn ang="0">
                <a:pos x="T6" y="T7"/>
              </a:cxn>
              <a:cxn ang="0">
                <a:pos x="T8" y="T9"/>
              </a:cxn>
              <a:cxn ang="0">
                <a:pos x="T10" y="T11"/>
              </a:cxn>
              <a:cxn ang="0">
                <a:pos x="T12" y="T13"/>
              </a:cxn>
            </a:cxnLst>
            <a:rect l="0" t="0" r="r" b="b"/>
            <a:pathLst>
              <a:path w="543" h="958">
                <a:moveTo>
                  <a:pt x="543" y="799"/>
                </a:moveTo>
                <a:lnTo>
                  <a:pt x="543" y="158"/>
                </a:lnTo>
                <a:lnTo>
                  <a:pt x="272" y="0"/>
                </a:lnTo>
                <a:lnTo>
                  <a:pt x="272" y="641"/>
                </a:lnTo>
                <a:lnTo>
                  <a:pt x="0" y="799"/>
                </a:lnTo>
                <a:lnTo>
                  <a:pt x="272" y="958"/>
                </a:lnTo>
                <a:lnTo>
                  <a:pt x="543" y="799"/>
                </a:lnTo>
                <a:close/>
              </a:path>
            </a:pathLst>
          </a:custGeom>
          <a:gradFill>
            <a:gsLst>
              <a:gs pos="0">
                <a:srgbClr val="DC5E3D"/>
              </a:gs>
              <a:gs pos="100000">
                <a:srgbClr val="964E51"/>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 name="Freeform 15"/>
          <p:cNvSpPr>
            <a:spLocks/>
          </p:cNvSpPr>
          <p:nvPr userDrawn="1"/>
        </p:nvSpPr>
        <p:spPr bwMode="auto">
          <a:xfrm>
            <a:off x="5546702" y="1715842"/>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FE8F3D"/>
              </a:gs>
              <a:gs pos="100000">
                <a:srgbClr val="FE883D"/>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0" name="Freeform 16"/>
          <p:cNvSpPr>
            <a:spLocks/>
          </p:cNvSpPr>
          <p:nvPr userDrawn="1"/>
        </p:nvSpPr>
        <p:spPr bwMode="auto">
          <a:xfrm>
            <a:off x="742694" y="1502369"/>
            <a:ext cx="365303" cy="429632"/>
          </a:xfrm>
          <a:custGeom>
            <a:avLst/>
            <a:gdLst>
              <a:gd name="T0" fmla="*/ 272 w 272"/>
              <a:gd name="T1" fmla="*/ 320 h 320"/>
              <a:gd name="T2" fmla="*/ 0 w 272"/>
              <a:gd name="T3" fmla="*/ 161 h 320"/>
              <a:gd name="T4" fmla="*/ 272 w 272"/>
              <a:gd name="T5" fmla="*/ 0 h 320"/>
              <a:gd name="T6" fmla="*/ 272 w 272"/>
              <a:gd name="T7" fmla="*/ 320 h 320"/>
            </a:gdLst>
            <a:ahLst/>
            <a:cxnLst>
              <a:cxn ang="0">
                <a:pos x="T0" y="T1"/>
              </a:cxn>
              <a:cxn ang="0">
                <a:pos x="T2" y="T3"/>
              </a:cxn>
              <a:cxn ang="0">
                <a:pos x="T4" y="T5"/>
              </a:cxn>
              <a:cxn ang="0">
                <a:pos x="T6" y="T7"/>
              </a:cxn>
            </a:cxnLst>
            <a:rect l="0" t="0" r="r" b="b"/>
            <a:pathLst>
              <a:path w="272" h="320">
                <a:moveTo>
                  <a:pt x="272" y="320"/>
                </a:moveTo>
                <a:lnTo>
                  <a:pt x="0" y="161"/>
                </a:lnTo>
                <a:lnTo>
                  <a:pt x="272" y="0"/>
                </a:lnTo>
                <a:lnTo>
                  <a:pt x="272" y="320"/>
                </a:lnTo>
                <a:close/>
              </a:path>
            </a:pathLst>
          </a:custGeom>
          <a:gradFill>
            <a:gsLst>
              <a:gs pos="0">
                <a:srgbClr val="FE9541"/>
              </a:gs>
              <a:gs pos="100000">
                <a:srgbClr val="FE8E3F"/>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 name="Freeform 17"/>
          <p:cNvSpPr>
            <a:spLocks/>
          </p:cNvSpPr>
          <p:nvPr userDrawn="1"/>
        </p:nvSpPr>
        <p:spPr bwMode="auto">
          <a:xfrm>
            <a:off x="1475987" y="2573764"/>
            <a:ext cx="365303" cy="425605"/>
          </a:xfrm>
          <a:custGeom>
            <a:avLst/>
            <a:gdLst>
              <a:gd name="T0" fmla="*/ 0 w 272"/>
              <a:gd name="T1" fmla="*/ 317 h 317"/>
              <a:gd name="T2" fmla="*/ 272 w 272"/>
              <a:gd name="T3" fmla="*/ 158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8"/>
                </a:lnTo>
                <a:lnTo>
                  <a:pt x="0" y="0"/>
                </a:lnTo>
                <a:lnTo>
                  <a:pt x="0" y="317"/>
                </a:lnTo>
                <a:close/>
              </a:path>
            </a:pathLst>
          </a:custGeom>
          <a:gradFill>
            <a:gsLst>
              <a:gs pos="0">
                <a:srgbClr val="FF7B3A"/>
              </a:gs>
              <a:gs pos="100000">
                <a:srgbClr val="FF763A"/>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2" name="Freeform 18"/>
          <p:cNvSpPr>
            <a:spLocks/>
          </p:cNvSpPr>
          <p:nvPr userDrawn="1"/>
        </p:nvSpPr>
        <p:spPr bwMode="auto">
          <a:xfrm>
            <a:off x="4806694" y="4072105"/>
            <a:ext cx="365303" cy="425605"/>
          </a:xfrm>
          <a:custGeom>
            <a:avLst/>
            <a:gdLst>
              <a:gd name="T0" fmla="*/ 0 w 272"/>
              <a:gd name="T1" fmla="*/ 317 h 317"/>
              <a:gd name="T2" fmla="*/ 272 w 272"/>
              <a:gd name="T3" fmla="*/ 159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9"/>
                </a:lnTo>
                <a:lnTo>
                  <a:pt x="0" y="0"/>
                </a:lnTo>
                <a:lnTo>
                  <a:pt x="0" y="317"/>
                </a:lnTo>
                <a:close/>
              </a:path>
            </a:pathLst>
          </a:custGeom>
          <a:gradFill>
            <a:gsLst>
              <a:gs pos="0">
                <a:srgbClr val="D05B40"/>
              </a:gs>
              <a:gs pos="100000">
                <a:srgbClr val="BE5F4F"/>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3" name="Freeform 19"/>
          <p:cNvSpPr>
            <a:spLocks/>
          </p:cNvSpPr>
          <p:nvPr userDrawn="1"/>
        </p:nvSpPr>
        <p:spPr bwMode="auto">
          <a:xfrm>
            <a:off x="4429303" y="4717895"/>
            <a:ext cx="363961" cy="425605"/>
          </a:xfrm>
          <a:custGeom>
            <a:avLst/>
            <a:gdLst>
              <a:gd name="T0" fmla="*/ 0 w 271"/>
              <a:gd name="T1" fmla="*/ 317 h 317"/>
              <a:gd name="T2" fmla="*/ 271 w 271"/>
              <a:gd name="T3" fmla="*/ 158 h 317"/>
              <a:gd name="T4" fmla="*/ 0 w 271"/>
              <a:gd name="T5" fmla="*/ 0 h 317"/>
              <a:gd name="T6" fmla="*/ 0 w 271"/>
              <a:gd name="T7" fmla="*/ 317 h 317"/>
            </a:gdLst>
            <a:ahLst/>
            <a:cxnLst>
              <a:cxn ang="0">
                <a:pos x="T0" y="T1"/>
              </a:cxn>
              <a:cxn ang="0">
                <a:pos x="T2" y="T3"/>
              </a:cxn>
              <a:cxn ang="0">
                <a:pos x="T4" y="T5"/>
              </a:cxn>
              <a:cxn ang="0">
                <a:pos x="T6" y="T7"/>
              </a:cxn>
            </a:cxnLst>
            <a:rect l="0" t="0" r="r" b="b"/>
            <a:pathLst>
              <a:path w="271" h="317">
                <a:moveTo>
                  <a:pt x="0" y="317"/>
                </a:moveTo>
                <a:lnTo>
                  <a:pt x="271" y="158"/>
                </a:lnTo>
                <a:lnTo>
                  <a:pt x="0" y="0"/>
                </a:lnTo>
                <a:lnTo>
                  <a:pt x="0" y="317"/>
                </a:lnTo>
                <a:close/>
              </a:path>
            </a:pathLst>
          </a:custGeom>
          <a:gradFill>
            <a:gsLst>
              <a:gs pos="0">
                <a:srgbClr val="A8524C"/>
              </a:gs>
              <a:gs pos="100000">
                <a:srgbClr val="985154"/>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Freeform 20"/>
          <p:cNvSpPr>
            <a:spLocks/>
          </p:cNvSpPr>
          <p:nvPr userDrawn="1"/>
        </p:nvSpPr>
        <p:spPr bwMode="auto">
          <a:xfrm>
            <a:off x="1117398" y="648476"/>
            <a:ext cx="365303" cy="425605"/>
          </a:xfrm>
          <a:custGeom>
            <a:avLst/>
            <a:gdLst>
              <a:gd name="T0" fmla="*/ 0 w 272"/>
              <a:gd name="T1" fmla="*/ 317 h 317"/>
              <a:gd name="T2" fmla="*/ 272 w 272"/>
              <a:gd name="T3" fmla="*/ 159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9"/>
                </a:lnTo>
                <a:lnTo>
                  <a:pt x="0" y="0"/>
                </a:lnTo>
                <a:lnTo>
                  <a:pt x="0" y="317"/>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5" name="Freeform 21"/>
          <p:cNvSpPr>
            <a:spLocks/>
          </p:cNvSpPr>
          <p:nvPr userDrawn="1"/>
        </p:nvSpPr>
        <p:spPr bwMode="auto">
          <a:xfrm>
            <a:off x="3701382" y="1074080"/>
            <a:ext cx="730607" cy="425605"/>
          </a:xfrm>
          <a:custGeom>
            <a:avLst/>
            <a:gdLst>
              <a:gd name="T0" fmla="*/ 272 w 544"/>
              <a:gd name="T1" fmla="*/ 0 h 317"/>
              <a:gd name="T2" fmla="*/ 0 w 544"/>
              <a:gd name="T3" fmla="*/ 159 h 317"/>
              <a:gd name="T4" fmla="*/ 272 w 544"/>
              <a:gd name="T5" fmla="*/ 317 h 317"/>
              <a:gd name="T6" fmla="*/ 544 w 544"/>
              <a:gd name="T7" fmla="*/ 159 h 317"/>
              <a:gd name="T8" fmla="*/ 272 w 544"/>
              <a:gd name="T9" fmla="*/ 0 h 317"/>
            </a:gdLst>
            <a:ahLst/>
            <a:cxnLst>
              <a:cxn ang="0">
                <a:pos x="T0" y="T1"/>
              </a:cxn>
              <a:cxn ang="0">
                <a:pos x="T2" y="T3"/>
              </a:cxn>
              <a:cxn ang="0">
                <a:pos x="T4" y="T5"/>
              </a:cxn>
              <a:cxn ang="0">
                <a:pos x="T6" y="T7"/>
              </a:cxn>
              <a:cxn ang="0">
                <a:pos x="T8" y="T9"/>
              </a:cxn>
            </a:cxnLst>
            <a:rect l="0" t="0" r="r" b="b"/>
            <a:pathLst>
              <a:path w="544" h="317">
                <a:moveTo>
                  <a:pt x="272" y="0"/>
                </a:moveTo>
                <a:lnTo>
                  <a:pt x="0" y="159"/>
                </a:lnTo>
                <a:lnTo>
                  <a:pt x="272" y="317"/>
                </a:lnTo>
                <a:lnTo>
                  <a:pt x="544" y="159"/>
                </a:lnTo>
                <a:lnTo>
                  <a:pt x="272" y="0"/>
                </a:lnTo>
                <a:close/>
              </a:path>
            </a:pathLst>
          </a:custGeom>
          <a:gradFill>
            <a:gsLst>
              <a:gs pos="0">
                <a:srgbClr val="FEA044"/>
              </a:gs>
              <a:gs pos="100000">
                <a:srgbClr val="FE9842"/>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6" name="Freeform 22"/>
          <p:cNvSpPr>
            <a:spLocks/>
          </p:cNvSpPr>
          <p:nvPr userDrawn="1"/>
        </p:nvSpPr>
        <p:spPr bwMode="auto">
          <a:xfrm>
            <a:off x="735979" y="4285578"/>
            <a:ext cx="365303" cy="425605"/>
          </a:xfrm>
          <a:custGeom>
            <a:avLst/>
            <a:gdLst>
              <a:gd name="T0" fmla="*/ 0 w 272"/>
              <a:gd name="T1" fmla="*/ 317 h 317"/>
              <a:gd name="T2" fmla="*/ 272 w 272"/>
              <a:gd name="T3" fmla="*/ 158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8"/>
                </a:lnTo>
                <a:lnTo>
                  <a:pt x="0" y="0"/>
                </a:lnTo>
                <a:lnTo>
                  <a:pt x="0" y="317"/>
                </a:lnTo>
                <a:close/>
              </a:path>
            </a:pathLst>
          </a:custGeom>
          <a:gradFill>
            <a:gsLst>
              <a:gs pos="0">
                <a:srgbClr val="C45844"/>
              </a:gs>
              <a:gs pos="100000">
                <a:srgbClr val="B1544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7" name="Freeform 23"/>
          <p:cNvSpPr>
            <a:spLocks/>
          </p:cNvSpPr>
          <p:nvPr userDrawn="1"/>
        </p:nvSpPr>
        <p:spPr bwMode="auto">
          <a:xfrm>
            <a:off x="4806694" y="6004106"/>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523E64"/>
              </a:gs>
              <a:gs pos="100000">
                <a:srgbClr val="413A6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8" name="Freeform 24"/>
          <p:cNvSpPr>
            <a:spLocks/>
          </p:cNvSpPr>
          <p:nvPr userDrawn="1"/>
        </p:nvSpPr>
        <p:spPr bwMode="auto">
          <a:xfrm>
            <a:off x="1107998" y="5997393"/>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523E64"/>
              </a:gs>
              <a:gs pos="100000">
                <a:srgbClr val="413A6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9" name="Freeform 25"/>
          <p:cNvSpPr>
            <a:spLocks/>
          </p:cNvSpPr>
          <p:nvPr userDrawn="1"/>
        </p:nvSpPr>
        <p:spPr bwMode="auto">
          <a:xfrm>
            <a:off x="4431989" y="0"/>
            <a:ext cx="365303" cy="639077"/>
          </a:xfrm>
          <a:custGeom>
            <a:avLst/>
            <a:gdLst>
              <a:gd name="T0" fmla="*/ 272 w 272"/>
              <a:gd name="T1" fmla="*/ 476 h 476"/>
              <a:gd name="T2" fmla="*/ 0 w 272"/>
              <a:gd name="T3" fmla="*/ 322 h 476"/>
              <a:gd name="T4" fmla="*/ 0 w 272"/>
              <a:gd name="T5" fmla="*/ 0 h 476"/>
              <a:gd name="T6" fmla="*/ 272 w 272"/>
              <a:gd name="T7" fmla="*/ 159 h 476"/>
              <a:gd name="T8" fmla="*/ 272 w 272"/>
              <a:gd name="T9" fmla="*/ 476 h 476"/>
            </a:gdLst>
            <a:ahLst/>
            <a:cxnLst>
              <a:cxn ang="0">
                <a:pos x="T0" y="T1"/>
              </a:cxn>
              <a:cxn ang="0">
                <a:pos x="T2" y="T3"/>
              </a:cxn>
              <a:cxn ang="0">
                <a:pos x="T4" y="T5"/>
              </a:cxn>
              <a:cxn ang="0">
                <a:pos x="T6" y="T7"/>
              </a:cxn>
              <a:cxn ang="0">
                <a:pos x="T8" y="T9"/>
              </a:cxn>
            </a:cxnLst>
            <a:rect l="0" t="0" r="r" b="b"/>
            <a:pathLst>
              <a:path w="272" h="476">
                <a:moveTo>
                  <a:pt x="272" y="476"/>
                </a:moveTo>
                <a:lnTo>
                  <a:pt x="0" y="322"/>
                </a:lnTo>
                <a:lnTo>
                  <a:pt x="0" y="0"/>
                </a:lnTo>
                <a:lnTo>
                  <a:pt x="272" y="159"/>
                </a:lnTo>
                <a:lnTo>
                  <a:pt x="272" y="476"/>
                </a:lnTo>
                <a:close/>
              </a:path>
            </a:pathLst>
          </a:custGeom>
          <a:gradFill>
            <a:gsLst>
              <a:gs pos="0">
                <a:srgbClr val="FDBB4C"/>
              </a:gs>
              <a:gs pos="100000">
                <a:srgbClr val="FDAE49"/>
              </a:gs>
            </a:gsLst>
            <a:lin ang="5400000" scaled="1"/>
          </a:gradFill>
          <a:ln>
            <a:noFill/>
          </a:ln>
        </p:spPr>
        <p:txBody>
          <a:bodyPr vert="horz" wrap="square" lIns="91440" tIns="45720" rIns="91440" bIns="45720" numCol="1" anchor="t" anchorCtr="0" compatLnSpc="1">
            <a:prstTxWarp prst="textNoShape">
              <a:avLst/>
            </a:prstTxWarp>
          </a:bodyPr>
          <a:lstStyle/>
          <a:p>
            <a:pPr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0" name="Freeform 27"/>
          <p:cNvSpPr>
            <a:spLocks/>
          </p:cNvSpPr>
          <p:nvPr userDrawn="1"/>
        </p:nvSpPr>
        <p:spPr bwMode="auto">
          <a:xfrm>
            <a:off x="1482702" y="436345"/>
            <a:ext cx="365303" cy="635050"/>
          </a:xfrm>
          <a:custGeom>
            <a:avLst/>
            <a:gdLst>
              <a:gd name="T0" fmla="*/ 272 w 272"/>
              <a:gd name="T1" fmla="*/ 158 h 473"/>
              <a:gd name="T2" fmla="*/ 0 w 272"/>
              <a:gd name="T3" fmla="*/ 0 h 473"/>
              <a:gd name="T4" fmla="*/ 0 w 272"/>
              <a:gd name="T5" fmla="*/ 317 h 473"/>
              <a:gd name="T6" fmla="*/ 272 w 272"/>
              <a:gd name="T7" fmla="*/ 473 h 473"/>
              <a:gd name="T8" fmla="*/ 272 w 272"/>
              <a:gd name="T9" fmla="*/ 158 h 473"/>
            </a:gdLst>
            <a:ahLst/>
            <a:cxnLst>
              <a:cxn ang="0">
                <a:pos x="T0" y="T1"/>
              </a:cxn>
              <a:cxn ang="0">
                <a:pos x="T2" y="T3"/>
              </a:cxn>
              <a:cxn ang="0">
                <a:pos x="T4" y="T5"/>
              </a:cxn>
              <a:cxn ang="0">
                <a:pos x="T6" y="T7"/>
              </a:cxn>
              <a:cxn ang="0">
                <a:pos x="T8" y="T9"/>
              </a:cxn>
            </a:cxnLst>
            <a:rect l="0" t="0" r="r" b="b"/>
            <a:pathLst>
              <a:path w="272" h="473">
                <a:moveTo>
                  <a:pt x="272" y="158"/>
                </a:moveTo>
                <a:lnTo>
                  <a:pt x="0" y="0"/>
                </a:lnTo>
                <a:lnTo>
                  <a:pt x="0" y="317"/>
                </a:lnTo>
                <a:lnTo>
                  <a:pt x="272" y="473"/>
                </a:lnTo>
                <a:lnTo>
                  <a:pt x="272" y="158"/>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1" name="Freeform 28"/>
          <p:cNvSpPr>
            <a:spLocks/>
          </p:cNvSpPr>
          <p:nvPr userDrawn="1"/>
        </p:nvSpPr>
        <p:spPr bwMode="auto">
          <a:xfrm>
            <a:off x="5171997" y="648476"/>
            <a:ext cx="729264" cy="641763"/>
          </a:xfrm>
          <a:custGeom>
            <a:avLst/>
            <a:gdLst>
              <a:gd name="T0" fmla="*/ 272 w 543"/>
              <a:gd name="T1" fmla="*/ 0 h 478"/>
              <a:gd name="T2" fmla="*/ 0 w 543"/>
              <a:gd name="T3" fmla="*/ 159 h 478"/>
              <a:gd name="T4" fmla="*/ 0 w 543"/>
              <a:gd name="T5" fmla="*/ 478 h 478"/>
              <a:gd name="T6" fmla="*/ 272 w 543"/>
              <a:gd name="T7" fmla="*/ 319 h 478"/>
              <a:gd name="T8" fmla="*/ 543 w 543"/>
              <a:gd name="T9" fmla="*/ 159 h 478"/>
              <a:gd name="T10" fmla="*/ 272 w 543"/>
              <a:gd name="T11" fmla="*/ 0 h 478"/>
            </a:gdLst>
            <a:ahLst/>
            <a:cxnLst>
              <a:cxn ang="0">
                <a:pos x="T0" y="T1"/>
              </a:cxn>
              <a:cxn ang="0">
                <a:pos x="T2" y="T3"/>
              </a:cxn>
              <a:cxn ang="0">
                <a:pos x="T4" y="T5"/>
              </a:cxn>
              <a:cxn ang="0">
                <a:pos x="T6" y="T7"/>
              </a:cxn>
              <a:cxn ang="0">
                <a:pos x="T8" y="T9"/>
              </a:cxn>
              <a:cxn ang="0">
                <a:pos x="T10" y="T11"/>
              </a:cxn>
            </a:cxnLst>
            <a:rect l="0" t="0" r="r" b="b"/>
            <a:pathLst>
              <a:path w="543" h="478">
                <a:moveTo>
                  <a:pt x="272" y="0"/>
                </a:moveTo>
                <a:lnTo>
                  <a:pt x="0" y="159"/>
                </a:lnTo>
                <a:lnTo>
                  <a:pt x="0" y="478"/>
                </a:lnTo>
                <a:lnTo>
                  <a:pt x="272" y="319"/>
                </a:lnTo>
                <a:lnTo>
                  <a:pt x="543" y="159"/>
                </a:lnTo>
                <a:lnTo>
                  <a:pt x="272" y="0"/>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2" name="Freeform 29"/>
          <p:cNvSpPr>
            <a:spLocks/>
          </p:cNvSpPr>
          <p:nvPr userDrawn="1"/>
        </p:nvSpPr>
        <p:spPr bwMode="auto">
          <a:xfrm>
            <a:off x="4066686" y="2360290"/>
            <a:ext cx="730607" cy="641763"/>
          </a:xfrm>
          <a:custGeom>
            <a:avLst/>
            <a:gdLst>
              <a:gd name="T0" fmla="*/ 272 w 544"/>
              <a:gd name="T1" fmla="*/ 478 h 478"/>
              <a:gd name="T2" fmla="*/ 0 w 544"/>
              <a:gd name="T3" fmla="*/ 320 h 478"/>
              <a:gd name="T4" fmla="*/ 0 w 544"/>
              <a:gd name="T5" fmla="*/ 0 h 478"/>
              <a:gd name="T6" fmla="*/ 272 w 544"/>
              <a:gd name="T7" fmla="*/ 159 h 478"/>
              <a:gd name="T8" fmla="*/ 544 w 544"/>
              <a:gd name="T9" fmla="*/ 320 h 478"/>
              <a:gd name="T10" fmla="*/ 272 w 544"/>
              <a:gd name="T11" fmla="*/ 478 h 478"/>
            </a:gdLst>
            <a:ahLst/>
            <a:cxnLst>
              <a:cxn ang="0">
                <a:pos x="T0" y="T1"/>
              </a:cxn>
              <a:cxn ang="0">
                <a:pos x="T2" y="T3"/>
              </a:cxn>
              <a:cxn ang="0">
                <a:pos x="T4" y="T5"/>
              </a:cxn>
              <a:cxn ang="0">
                <a:pos x="T6" y="T7"/>
              </a:cxn>
              <a:cxn ang="0">
                <a:pos x="T8" y="T9"/>
              </a:cxn>
              <a:cxn ang="0">
                <a:pos x="T10" y="T11"/>
              </a:cxn>
            </a:cxnLst>
            <a:rect l="0" t="0" r="r" b="b"/>
            <a:pathLst>
              <a:path w="544" h="478">
                <a:moveTo>
                  <a:pt x="272" y="478"/>
                </a:moveTo>
                <a:lnTo>
                  <a:pt x="0" y="320"/>
                </a:lnTo>
                <a:lnTo>
                  <a:pt x="0" y="0"/>
                </a:lnTo>
                <a:lnTo>
                  <a:pt x="272" y="159"/>
                </a:lnTo>
                <a:lnTo>
                  <a:pt x="544" y="320"/>
                </a:lnTo>
                <a:lnTo>
                  <a:pt x="272" y="478"/>
                </a:lnTo>
                <a:close/>
              </a:path>
            </a:pathLst>
          </a:custGeom>
          <a:gradFill>
            <a:gsLst>
              <a:gs pos="0">
                <a:srgbClr val="FE7F3A"/>
              </a:gs>
              <a:gs pos="100000">
                <a:srgbClr val="FF6D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3" name="Picture Placeholder 37">
            <a:extLst>
              <a:ext uri="{FF2B5EF4-FFF2-40B4-BE49-F238E27FC236}">
                <a16:creationId xmlns:a16="http://schemas.microsoft.com/office/drawing/2014/main" id="{B27FB25A-25C1-1145-91A1-08CB3FC40AE3}"/>
              </a:ext>
            </a:extLst>
          </p:cNvPr>
          <p:cNvSpPr>
            <a:spLocks noGrp="1"/>
          </p:cNvSpPr>
          <p:nvPr>
            <p:ph type="pic" sz="quarter" idx="10"/>
          </p:nvPr>
        </p:nvSpPr>
        <p:spPr>
          <a:xfrm>
            <a:off x="2" y="0"/>
            <a:ext cx="7121235" cy="6857999"/>
          </a:xfrm>
          <a:custGeom>
            <a:avLst/>
            <a:gdLst>
              <a:gd name="connsiteX0" fmla="*/ 1467955 w 7121235"/>
              <a:gd name="connsiteY0" fmla="*/ 6003620 h 6857999"/>
              <a:gd name="connsiteX1" fmla="*/ 1113343 w 7121235"/>
              <a:gd name="connsiteY1" fmla="*/ 6209544 h 6857999"/>
              <a:gd name="connsiteX2" fmla="*/ 1467955 w 7121235"/>
              <a:gd name="connsiteY2" fmla="*/ 6416770 h 6857999"/>
              <a:gd name="connsiteX3" fmla="*/ 4431990 w 7121235"/>
              <a:gd name="connsiteY3" fmla="*/ 5571788 h 6857999"/>
              <a:gd name="connsiteX4" fmla="*/ 4797292 w 7121235"/>
              <a:gd name="connsiteY4" fmla="*/ 5783919 h 6857999"/>
              <a:gd name="connsiteX5" fmla="*/ 4431990 w 7121235"/>
              <a:gd name="connsiteY5" fmla="*/ 5997393 h 6857999"/>
              <a:gd name="connsiteX6" fmla="*/ 370677 w 7121235"/>
              <a:gd name="connsiteY6" fmla="*/ 4927340 h 6857999"/>
              <a:gd name="connsiteX7" fmla="*/ 370677 w 7121235"/>
              <a:gd name="connsiteY7" fmla="*/ 5352945 h 6857999"/>
              <a:gd name="connsiteX8" fmla="*/ 2688 w 7121235"/>
              <a:gd name="connsiteY8" fmla="*/ 5139471 h 6857999"/>
              <a:gd name="connsiteX9" fmla="*/ 4434628 w 7121235"/>
              <a:gd name="connsiteY9" fmla="*/ 4724122 h 6857999"/>
              <a:gd name="connsiteX10" fmla="*/ 4434628 w 7121235"/>
              <a:gd name="connsiteY10" fmla="*/ 5137272 h 6857999"/>
              <a:gd name="connsiteX11" fmla="*/ 4787938 w 7121235"/>
              <a:gd name="connsiteY11" fmla="*/ 4930046 h 6857999"/>
              <a:gd name="connsiteX12" fmla="*/ 4812039 w 7121235"/>
              <a:gd name="connsiteY12" fmla="*/ 4078332 h 6857999"/>
              <a:gd name="connsiteX13" fmla="*/ 4812039 w 7121235"/>
              <a:gd name="connsiteY13" fmla="*/ 4491482 h 6857999"/>
              <a:gd name="connsiteX14" fmla="*/ 5166651 w 7121235"/>
              <a:gd name="connsiteY14" fmla="*/ 4285559 h 6857999"/>
              <a:gd name="connsiteX15" fmla="*/ 6275966 w 7121235"/>
              <a:gd name="connsiteY15" fmla="*/ 3218212 h 6857999"/>
              <a:gd name="connsiteX16" fmla="*/ 6275966 w 7121235"/>
              <a:gd name="connsiteY16" fmla="*/ 3643816 h 6857999"/>
              <a:gd name="connsiteX17" fmla="*/ 5912006 w 7121235"/>
              <a:gd name="connsiteY17" fmla="*/ 3430342 h 6857999"/>
              <a:gd name="connsiteX18" fmla="*/ 370677 w 7121235"/>
              <a:gd name="connsiteY18" fmla="*/ 3218212 h 6857999"/>
              <a:gd name="connsiteX19" fmla="*/ 735980 w 7121235"/>
              <a:gd name="connsiteY19" fmla="*/ 3430342 h 6857999"/>
              <a:gd name="connsiteX20" fmla="*/ 735980 w 7121235"/>
              <a:gd name="connsiteY20" fmla="*/ 4285578 h 6857999"/>
              <a:gd name="connsiteX21" fmla="*/ 370677 w 7121235"/>
              <a:gd name="connsiteY21" fmla="*/ 4076133 h 6857999"/>
              <a:gd name="connsiteX22" fmla="*/ 1481333 w 7121235"/>
              <a:gd name="connsiteY22" fmla="*/ 2579992 h 6857999"/>
              <a:gd name="connsiteX23" fmla="*/ 1481333 w 7121235"/>
              <a:gd name="connsiteY23" fmla="*/ 2993142 h 6857999"/>
              <a:gd name="connsiteX24" fmla="*/ 1835945 w 7121235"/>
              <a:gd name="connsiteY24" fmla="*/ 2785915 h 6857999"/>
              <a:gd name="connsiteX25" fmla="*/ 4077377 w 7121235"/>
              <a:gd name="connsiteY25" fmla="*/ 2369681 h 6857999"/>
              <a:gd name="connsiteX26" fmla="*/ 4077377 w 7121235"/>
              <a:gd name="connsiteY26" fmla="*/ 2786739 h 6857999"/>
              <a:gd name="connsiteX27" fmla="*/ 4431989 w 7121235"/>
              <a:gd name="connsiteY27" fmla="*/ 2992661 h 6857999"/>
              <a:gd name="connsiteX28" fmla="*/ 4786601 w 7121235"/>
              <a:gd name="connsiteY28" fmla="*/ 2786739 h 6857999"/>
              <a:gd name="connsiteX29" fmla="*/ 4431989 w 7121235"/>
              <a:gd name="connsiteY29" fmla="*/ 2576907 h 6857999"/>
              <a:gd name="connsiteX30" fmla="*/ 1102652 w 7121235"/>
              <a:gd name="connsiteY30" fmla="*/ 1508656 h 6857999"/>
              <a:gd name="connsiteX31" fmla="*/ 748040 w 7121235"/>
              <a:gd name="connsiteY31" fmla="*/ 1718488 h 6857999"/>
              <a:gd name="connsiteX32" fmla="*/ 1102652 w 7121235"/>
              <a:gd name="connsiteY32" fmla="*/ 1925714 h 6857999"/>
              <a:gd name="connsiteX33" fmla="*/ 5171998 w 7121235"/>
              <a:gd name="connsiteY33" fmla="*/ 1290240 h 6857999"/>
              <a:gd name="connsiteX34" fmla="*/ 5537301 w 7121235"/>
              <a:gd name="connsiteY34" fmla="*/ 1502371 h 6857999"/>
              <a:gd name="connsiteX35" fmla="*/ 5171998 w 7121235"/>
              <a:gd name="connsiteY35" fmla="*/ 1715844 h 6857999"/>
              <a:gd name="connsiteX36" fmla="*/ 4066685 w 7121235"/>
              <a:gd name="connsiteY36" fmla="*/ 1080308 h 6857999"/>
              <a:gd name="connsiteX37" fmla="*/ 3712073 w 7121235"/>
              <a:gd name="connsiteY37" fmla="*/ 1287534 h 6857999"/>
              <a:gd name="connsiteX38" fmla="*/ 4066685 w 7121235"/>
              <a:gd name="connsiteY38" fmla="*/ 1493458 h 6857999"/>
              <a:gd name="connsiteX39" fmla="*/ 4421297 w 7121235"/>
              <a:gd name="connsiteY39" fmla="*/ 1287534 h 6857999"/>
              <a:gd name="connsiteX40" fmla="*/ 1122744 w 7121235"/>
              <a:gd name="connsiteY40" fmla="*/ 654703 h 6857999"/>
              <a:gd name="connsiteX41" fmla="*/ 1122744 w 7121235"/>
              <a:gd name="connsiteY41" fmla="*/ 1067854 h 6857999"/>
              <a:gd name="connsiteX42" fmla="*/ 1477356 w 7121235"/>
              <a:gd name="connsiteY42" fmla="*/ 861930 h 6857999"/>
              <a:gd name="connsiteX43" fmla="*/ 370677 w 7121235"/>
              <a:gd name="connsiteY43" fmla="*/ 645792 h 6857999"/>
              <a:gd name="connsiteX44" fmla="*/ 735980 w 7121235"/>
              <a:gd name="connsiteY44" fmla="*/ 857923 h 6857999"/>
              <a:gd name="connsiteX45" fmla="*/ 370677 w 7121235"/>
              <a:gd name="connsiteY45" fmla="*/ 1071397 h 6857999"/>
              <a:gd name="connsiteX46" fmla="*/ 1488047 w 7121235"/>
              <a:gd name="connsiteY46" fmla="*/ 445638 h 6857999"/>
              <a:gd name="connsiteX47" fmla="*/ 1488047 w 7121235"/>
              <a:gd name="connsiteY47" fmla="*/ 858785 h 6857999"/>
              <a:gd name="connsiteX48" fmla="*/ 1842659 w 7121235"/>
              <a:gd name="connsiteY48" fmla="*/ 1062100 h 6857999"/>
              <a:gd name="connsiteX49" fmla="*/ 1842659 w 7121235"/>
              <a:gd name="connsiteY49" fmla="*/ 651560 h 6857999"/>
              <a:gd name="connsiteX50" fmla="*/ 2 w 7121235"/>
              <a:gd name="connsiteY50" fmla="*/ 1 h 6857999"/>
              <a:gd name="connsiteX51" fmla="*/ 2 w 7121235"/>
              <a:gd name="connsiteY51" fmla="*/ 4285577 h 6857999"/>
              <a:gd name="connsiteX52" fmla="*/ 2 w 7121235"/>
              <a:gd name="connsiteY52" fmla="*/ 4292290 h 6857999"/>
              <a:gd name="connsiteX53" fmla="*/ 365306 w 7121235"/>
              <a:gd name="connsiteY53" fmla="*/ 4504421 h 6857999"/>
              <a:gd name="connsiteX54" fmla="*/ 2 w 7121235"/>
              <a:gd name="connsiteY54" fmla="*/ 4717894 h 6857999"/>
              <a:gd name="connsiteX55" fmla="*/ 2 w 7121235"/>
              <a:gd name="connsiteY55" fmla="*/ 6857998 h 6857999"/>
              <a:gd name="connsiteX56" fmla="*/ 738668 w 7121235"/>
              <a:gd name="connsiteY56" fmla="*/ 6857998 h 6857999"/>
              <a:gd name="connsiteX57" fmla="*/ 738668 w 7121235"/>
              <a:gd name="connsiteY57" fmla="*/ 6425681 h 6857999"/>
              <a:gd name="connsiteX58" fmla="*/ 367992 w 7121235"/>
              <a:gd name="connsiteY58" fmla="*/ 6641840 h 6857999"/>
              <a:gd name="connsiteX59" fmla="*/ 367992 w 7121235"/>
              <a:gd name="connsiteY59" fmla="*/ 6216236 h 6857999"/>
              <a:gd name="connsiteX60" fmla="*/ 1108000 w 7121235"/>
              <a:gd name="connsiteY60" fmla="*/ 5783919 h 6857999"/>
              <a:gd name="connsiteX61" fmla="*/ 1108000 w 7121235"/>
              <a:gd name="connsiteY61" fmla="*/ 2789923 h 6857999"/>
              <a:gd name="connsiteX62" fmla="*/ 735981 w 7121235"/>
              <a:gd name="connsiteY62" fmla="*/ 2573765 h 6857999"/>
              <a:gd name="connsiteX63" fmla="*/ 735981 w 7121235"/>
              <a:gd name="connsiteY63" fmla="*/ 2141448 h 6857999"/>
              <a:gd name="connsiteX64" fmla="*/ 367992 w 7121235"/>
              <a:gd name="connsiteY64" fmla="*/ 1927974 h 6857999"/>
              <a:gd name="connsiteX65" fmla="*/ 367992 w 7121235"/>
              <a:gd name="connsiteY65" fmla="*/ 1499685 h 6857999"/>
              <a:gd name="connsiteX66" fmla="*/ 738668 w 7121235"/>
              <a:gd name="connsiteY66" fmla="*/ 1287554 h 6857999"/>
              <a:gd name="connsiteX67" fmla="*/ 738668 w 7121235"/>
              <a:gd name="connsiteY67" fmla="*/ 1 h 6857999"/>
              <a:gd name="connsiteX68" fmla="*/ 735981 w 7121235"/>
              <a:gd name="connsiteY68" fmla="*/ 1 h 6857999"/>
              <a:gd name="connsiteX69" fmla="*/ 0 w 7121235"/>
              <a:gd name="connsiteY69" fmla="*/ 0 h 6857999"/>
              <a:gd name="connsiteX70" fmla="*/ 7121235 w 7121235"/>
              <a:gd name="connsiteY70" fmla="*/ 0 h 6857999"/>
              <a:gd name="connsiteX71" fmla="*/ 7121235 w 7121235"/>
              <a:gd name="connsiteY71" fmla="*/ 1 h 6857999"/>
              <a:gd name="connsiteX72" fmla="*/ 2958692 w 7121235"/>
              <a:gd name="connsiteY72" fmla="*/ 1 h 6857999"/>
              <a:gd name="connsiteX73" fmla="*/ 4431990 w 7121235"/>
              <a:gd name="connsiteY73" fmla="*/ 857922 h 6857999"/>
              <a:gd name="connsiteX74" fmla="*/ 4431990 w 7121235"/>
              <a:gd name="connsiteY74" fmla="*/ 1292925 h 6857999"/>
              <a:gd name="connsiteX75" fmla="*/ 4793265 w 7121235"/>
              <a:gd name="connsiteY75" fmla="*/ 1502370 h 6857999"/>
              <a:gd name="connsiteX76" fmla="*/ 4793265 w 7121235"/>
              <a:gd name="connsiteY76" fmla="*/ 1934687 h 6857999"/>
              <a:gd name="connsiteX77" fmla="*/ 5165283 w 7121235"/>
              <a:gd name="connsiteY77" fmla="*/ 2148161 h 6857999"/>
              <a:gd name="connsiteX78" fmla="*/ 5165283 w 7121235"/>
              <a:gd name="connsiteY78" fmla="*/ 3427657 h 6857999"/>
              <a:gd name="connsiteX79" fmla="*/ 5537301 w 7121235"/>
              <a:gd name="connsiteY79" fmla="*/ 3641129 h 6857999"/>
              <a:gd name="connsiteX80" fmla="*/ 5537301 w 7121235"/>
              <a:gd name="connsiteY80" fmla="*/ 4927340 h 6857999"/>
              <a:gd name="connsiteX81" fmla="*/ 3691984 w 7121235"/>
              <a:gd name="connsiteY81" fmla="*/ 6000077 h 6857999"/>
              <a:gd name="connsiteX82" fmla="*/ 3691984 w 7121235"/>
              <a:gd name="connsiteY82" fmla="*/ 6848600 h 6857999"/>
              <a:gd name="connsiteX83" fmla="*/ 3691984 w 7121235"/>
              <a:gd name="connsiteY83" fmla="*/ 6857998 h 6857999"/>
              <a:gd name="connsiteX84" fmla="*/ 4431990 w 7121235"/>
              <a:gd name="connsiteY84" fmla="*/ 6857998 h 6857999"/>
              <a:gd name="connsiteX85" fmla="*/ 4431990 w 7121235"/>
              <a:gd name="connsiteY85" fmla="*/ 6429709 h 6857999"/>
              <a:gd name="connsiteX86" fmla="*/ 4797292 w 7121235"/>
              <a:gd name="connsiteY86" fmla="*/ 6641840 h 6857999"/>
              <a:gd name="connsiteX87" fmla="*/ 4431992 w 7121235"/>
              <a:gd name="connsiteY87" fmla="*/ 6857998 h 6857999"/>
              <a:gd name="connsiteX88" fmla="*/ 7121235 w 7121235"/>
              <a:gd name="connsiteY88" fmla="*/ 6857998 h 6857999"/>
              <a:gd name="connsiteX89" fmla="*/ 7121235 w 7121235"/>
              <a:gd name="connsiteY89" fmla="*/ 6857999 h 6857999"/>
              <a:gd name="connsiteX90" fmla="*/ 0 w 7121235"/>
              <a:gd name="connsiteY9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21235" h="6857999">
                <a:moveTo>
                  <a:pt x="1467955" y="6003620"/>
                </a:moveTo>
                <a:lnTo>
                  <a:pt x="1113343" y="6209544"/>
                </a:lnTo>
                <a:lnTo>
                  <a:pt x="1467955" y="6416770"/>
                </a:lnTo>
                <a:close/>
                <a:moveTo>
                  <a:pt x="4431990" y="5571788"/>
                </a:moveTo>
                <a:lnTo>
                  <a:pt x="4797292" y="5783919"/>
                </a:lnTo>
                <a:lnTo>
                  <a:pt x="4431990" y="5997393"/>
                </a:lnTo>
                <a:close/>
                <a:moveTo>
                  <a:pt x="370677" y="4927340"/>
                </a:moveTo>
                <a:lnTo>
                  <a:pt x="370677" y="5352945"/>
                </a:lnTo>
                <a:lnTo>
                  <a:pt x="2688" y="5139471"/>
                </a:lnTo>
                <a:close/>
                <a:moveTo>
                  <a:pt x="4434628" y="4724122"/>
                </a:moveTo>
                <a:lnTo>
                  <a:pt x="4434628" y="5137272"/>
                </a:lnTo>
                <a:lnTo>
                  <a:pt x="4787938" y="4930046"/>
                </a:lnTo>
                <a:close/>
                <a:moveTo>
                  <a:pt x="4812039" y="4078332"/>
                </a:moveTo>
                <a:lnTo>
                  <a:pt x="4812039" y="4491482"/>
                </a:lnTo>
                <a:lnTo>
                  <a:pt x="5166651" y="4285559"/>
                </a:lnTo>
                <a:close/>
                <a:moveTo>
                  <a:pt x="6275966" y="3218212"/>
                </a:moveTo>
                <a:lnTo>
                  <a:pt x="6275966" y="3643816"/>
                </a:lnTo>
                <a:lnTo>
                  <a:pt x="5912006" y="3430342"/>
                </a:lnTo>
                <a:close/>
                <a:moveTo>
                  <a:pt x="370677" y="3218212"/>
                </a:moveTo>
                <a:lnTo>
                  <a:pt x="735980" y="3430342"/>
                </a:lnTo>
                <a:lnTo>
                  <a:pt x="735980" y="4285578"/>
                </a:lnTo>
                <a:lnTo>
                  <a:pt x="370677" y="4076133"/>
                </a:lnTo>
                <a:close/>
                <a:moveTo>
                  <a:pt x="1481333" y="2579992"/>
                </a:moveTo>
                <a:lnTo>
                  <a:pt x="1481333" y="2993142"/>
                </a:lnTo>
                <a:lnTo>
                  <a:pt x="1835945" y="2785915"/>
                </a:lnTo>
                <a:close/>
                <a:moveTo>
                  <a:pt x="4077377" y="2369681"/>
                </a:moveTo>
                <a:lnTo>
                  <a:pt x="4077377" y="2786739"/>
                </a:lnTo>
                <a:lnTo>
                  <a:pt x="4431989" y="2992661"/>
                </a:lnTo>
                <a:lnTo>
                  <a:pt x="4786601" y="2786739"/>
                </a:lnTo>
                <a:lnTo>
                  <a:pt x="4431989" y="2576907"/>
                </a:lnTo>
                <a:close/>
                <a:moveTo>
                  <a:pt x="1102652" y="1508656"/>
                </a:moveTo>
                <a:lnTo>
                  <a:pt x="748040" y="1718488"/>
                </a:lnTo>
                <a:lnTo>
                  <a:pt x="1102652" y="1925714"/>
                </a:lnTo>
                <a:close/>
                <a:moveTo>
                  <a:pt x="5171998" y="1290240"/>
                </a:moveTo>
                <a:lnTo>
                  <a:pt x="5537301" y="1502371"/>
                </a:lnTo>
                <a:lnTo>
                  <a:pt x="5171998" y="1715844"/>
                </a:lnTo>
                <a:close/>
                <a:moveTo>
                  <a:pt x="4066685" y="1080308"/>
                </a:moveTo>
                <a:lnTo>
                  <a:pt x="3712073" y="1287534"/>
                </a:lnTo>
                <a:lnTo>
                  <a:pt x="4066685" y="1493458"/>
                </a:lnTo>
                <a:lnTo>
                  <a:pt x="4421297" y="1287534"/>
                </a:lnTo>
                <a:close/>
                <a:moveTo>
                  <a:pt x="1122744" y="654703"/>
                </a:moveTo>
                <a:lnTo>
                  <a:pt x="1122744" y="1067854"/>
                </a:lnTo>
                <a:lnTo>
                  <a:pt x="1477356" y="861930"/>
                </a:lnTo>
                <a:close/>
                <a:moveTo>
                  <a:pt x="370677" y="645792"/>
                </a:moveTo>
                <a:lnTo>
                  <a:pt x="735980" y="857923"/>
                </a:lnTo>
                <a:lnTo>
                  <a:pt x="370677" y="1071397"/>
                </a:lnTo>
                <a:close/>
                <a:moveTo>
                  <a:pt x="1488047" y="445638"/>
                </a:moveTo>
                <a:lnTo>
                  <a:pt x="1488047" y="858785"/>
                </a:lnTo>
                <a:lnTo>
                  <a:pt x="1842659" y="1062100"/>
                </a:lnTo>
                <a:lnTo>
                  <a:pt x="1842659" y="651560"/>
                </a:lnTo>
                <a:close/>
                <a:moveTo>
                  <a:pt x="2" y="1"/>
                </a:moveTo>
                <a:lnTo>
                  <a:pt x="2" y="4285577"/>
                </a:lnTo>
                <a:lnTo>
                  <a:pt x="2" y="4292290"/>
                </a:lnTo>
                <a:lnTo>
                  <a:pt x="365306" y="4504421"/>
                </a:lnTo>
                <a:lnTo>
                  <a:pt x="2" y="4717894"/>
                </a:lnTo>
                <a:lnTo>
                  <a:pt x="2" y="6857998"/>
                </a:lnTo>
                <a:lnTo>
                  <a:pt x="738668" y="6857998"/>
                </a:lnTo>
                <a:lnTo>
                  <a:pt x="738668" y="6425681"/>
                </a:lnTo>
                <a:lnTo>
                  <a:pt x="367992" y="6641840"/>
                </a:lnTo>
                <a:lnTo>
                  <a:pt x="367992" y="6216236"/>
                </a:lnTo>
                <a:lnTo>
                  <a:pt x="1108000" y="5783919"/>
                </a:lnTo>
                <a:lnTo>
                  <a:pt x="1108000" y="2789923"/>
                </a:lnTo>
                <a:lnTo>
                  <a:pt x="735981" y="2573765"/>
                </a:lnTo>
                <a:lnTo>
                  <a:pt x="735981" y="2141448"/>
                </a:lnTo>
                <a:lnTo>
                  <a:pt x="367992" y="1927974"/>
                </a:lnTo>
                <a:lnTo>
                  <a:pt x="367992" y="1499685"/>
                </a:lnTo>
                <a:lnTo>
                  <a:pt x="738668" y="1287554"/>
                </a:lnTo>
                <a:lnTo>
                  <a:pt x="738668" y="1"/>
                </a:lnTo>
                <a:lnTo>
                  <a:pt x="735981" y="1"/>
                </a:lnTo>
                <a:close/>
                <a:moveTo>
                  <a:pt x="0" y="0"/>
                </a:moveTo>
                <a:lnTo>
                  <a:pt x="7121235" y="0"/>
                </a:lnTo>
                <a:lnTo>
                  <a:pt x="7121235" y="1"/>
                </a:lnTo>
                <a:lnTo>
                  <a:pt x="2958692" y="1"/>
                </a:lnTo>
                <a:lnTo>
                  <a:pt x="4431990" y="857922"/>
                </a:lnTo>
                <a:lnTo>
                  <a:pt x="4431990" y="1292925"/>
                </a:lnTo>
                <a:lnTo>
                  <a:pt x="4793265" y="1502370"/>
                </a:lnTo>
                <a:lnTo>
                  <a:pt x="4793265" y="1934687"/>
                </a:lnTo>
                <a:lnTo>
                  <a:pt x="5165283" y="2148161"/>
                </a:lnTo>
                <a:lnTo>
                  <a:pt x="5165283" y="3427657"/>
                </a:lnTo>
                <a:lnTo>
                  <a:pt x="5537301" y="3641129"/>
                </a:lnTo>
                <a:lnTo>
                  <a:pt x="5537301" y="4927340"/>
                </a:lnTo>
                <a:lnTo>
                  <a:pt x="3691984" y="6000077"/>
                </a:lnTo>
                <a:lnTo>
                  <a:pt x="3691984" y="6848600"/>
                </a:lnTo>
                <a:lnTo>
                  <a:pt x="3691984" y="6857998"/>
                </a:lnTo>
                <a:lnTo>
                  <a:pt x="4431990" y="6857998"/>
                </a:lnTo>
                <a:lnTo>
                  <a:pt x="4431990" y="6429709"/>
                </a:lnTo>
                <a:lnTo>
                  <a:pt x="4797292" y="6641840"/>
                </a:lnTo>
                <a:lnTo>
                  <a:pt x="4431992" y="6857998"/>
                </a:lnTo>
                <a:lnTo>
                  <a:pt x="7121235" y="6857998"/>
                </a:lnTo>
                <a:lnTo>
                  <a:pt x="7121235" y="6857999"/>
                </a:lnTo>
                <a:lnTo>
                  <a:pt x="0" y="6857999"/>
                </a:lnTo>
                <a:close/>
              </a:path>
            </a:pathLst>
          </a:custGeom>
        </p:spPr>
        <p:txBody>
          <a:bodyPr wrap="square">
            <a:noAutofit/>
          </a:bodyPr>
          <a:lstStyle>
            <a:lvl1pPr marL="0" indent="0">
              <a:buNone/>
              <a:defRPr sz="120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to add picture</a:t>
            </a:r>
            <a:endParaRPr lang="ar-SA"/>
          </a:p>
        </p:txBody>
      </p:sp>
      <p:sp>
        <p:nvSpPr>
          <p:cNvPr id="34" name="Title 1">
            <a:extLst>
              <a:ext uri="{FF2B5EF4-FFF2-40B4-BE49-F238E27FC236}">
                <a16:creationId xmlns:a16="http://schemas.microsoft.com/office/drawing/2014/main" id="{31BBA778-64E4-9C4C-8806-1A8C377A972B}"/>
              </a:ext>
            </a:extLst>
          </p:cNvPr>
          <p:cNvSpPr>
            <a:spLocks noGrp="1"/>
          </p:cNvSpPr>
          <p:nvPr>
            <p:ph type="title" hasCustomPrompt="1"/>
          </p:nvPr>
        </p:nvSpPr>
        <p:spPr>
          <a:xfrm>
            <a:off x="7799185" y="1658320"/>
            <a:ext cx="3179763" cy="1913364"/>
          </a:xfrm>
        </p:spPr>
        <p:txBody>
          <a:bodyPr lIns="0" tIns="0" rIns="0" bIns="0" anchor="b">
            <a:noAutofit/>
          </a:bodyPr>
          <a:lstStyle>
            <a:lvl1pPr>
              <a:defRPr sz="4400" b="1">
                <a:latin typeface="Arial" panose="020B0604020202020204" pitchFamily="34" charset="0"/>
                <a:ea typeface="+mj-ea"/>
                <a:cs typeface="Arial" panose="020B0604020202020204" pitchFamily="34" charset="0"/>
                <a:sym typeface="Arial" panose="020B0604020202020204" pitchFamily="34" charset="0"/>
              </a:defRPr>
            </a:lvl1pPr>
          </a:lstStyle>
          <a:p>
            <a:r>
              <a:rPr lang="en-US"/>
              <a:t>Divider title goes here</a:t>
            </a:r>
            <a:endParaRPr lang="ar-SA"/>
          </a:p>
        </p:txBody>
      </p:sp>
      <p:sp>
        <p:nvSpPr>
          <p:cNvPr id="35" name="Text Placeholder 2">
            <a:extLst>
              <a:ext uri="{FF2B5EF4-FFF2-40B4-BE49-F238E27FC236}">
                <a16:creationId xmlns:a16="http://schemas.microsoft.com/office/drawing/2014/main" id="{F91C9796-CB07-194B-B62D-8AC12B657E13}"/>
              </a:ext>
            </a:extLst>
          </p:cNvPr>
          <p:cNvSpPr>
            <a:spLocks noGrp="1"/>
          </p:cNvSpPr>
          <p:nvPr>
            <p:ph type="body" idx="1" hasCustomPrompt="1"/>
          </p:nvPr>
        </p:nvSpPr>
        <p:spPr>
          <a:xfrm>
            <a:off x="7799184" y="3768851"/>
            <a:ext cx="3179763" cy="1140182"/>
          </a:xfrm>
        </p:spPr>
        <p:txBody>
          <a:bodyPr lIns="0" tIns="0" rIns="0" bIns="0">
            <a:noAutofit/>
          </a:bodyPr>
          <a:lstStyle>
            <a:lvl1pPr marL="0" indent="0">
              <a:buNone/>
              <a:defRPr sz="20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Tree>
    <p:extLst>
      <p:ext uri="{BB962C8B-B14F-4D97-AF65-F5344CB8AC3E}">
        <p14:creationId xmlns:p14="http://schemas.microsoft.com/office/powerpoint/2010/main" val="145896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slide with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03131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80"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985D392-8695-4E80-ACA0-E9368BC8B06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reeform 9"/>
          <p:cNvSpPr>
            <a:spLocks/>
          </p:cNvSpPr>
          <p:nvPr userDrawn="1"/>
        </p:nvSpPr>
        <p:spPr bwMode="auto">
          <a:xfrm>
            <a:off x="-1" y="-1"/>
            <a:ext cx="12197674" cy="6858000"/>
          </a:xfrm>
          <a:custGeom>
            <a:avLst/>
            <a:gdLst>
              <a:gd name="connsiteX0" fmla="*/ 4065892 w 12197674"/>
              <a:gd name="connsiteY0" fmla="*/ 5358485 h 6858000"/>
              <a:gd name="connsiteX1" fmla="*/ 3700420 w 12197674"/>
              <a:gd name="connsiteY1" fmla="*/ 5570782 h 6858000"/>
              <a:gd name="connsiteX2" fmla="*/ 4065892 w 12197674"/>
              <a:gd name="connsiteY2" fmla="*/ 5784423 h 6858000"/>
              <a:gd name="connsiteX3" fmla="*/ 4436741 w 12197674"/>
              <a:gd name="connsiteY3" fmla="*/ 3431688 h 6858000"/>
              <a:gd name="connsiteX4" fmla="*/ 4068580 w 12197674"/>
              <a:gd name="connsiteY4" fmla="*/ 3645329 h 6858000"/>
              <a:gd name="connsiteX5" fmla="*/ 4436741 w 12197674"/>
              <a:gd name="connsiteY5" fmla="*/ 3857626 h 6858000"/>
              <a:gd name="connsiteX6" fmla="*/ 4802214 w 12197674"/>
              <a:gd name="connsiteY6" fmla="*/ 3645329 h 6858000"/>
              <a:gd name="connsiteX7" fmla="*/ 0 w 12197674"/>
              <a:gd name="connsiteY7" fmla="*/ 854563 h 6858000"/>
              <a:gd name="connsiteX8" fmla="*/ 370849 w 12197674"/>
              <a:gd name="connsiteY8" fmla="*/ 1068204 h 6858000"/>
              <a:gd name="connsiteX9" fmla="*/ 368162 w 12197674"/>
              <a:gd name="connsiteY9" fmla="*/ 1499516 h 6858000"/>
              <a:gd name="connsiteX10" fmla="*/ 739010 w 12197674"/>
              <a:gd name="connsiteY10" fmla="*/ 1713157 h 6858000"/>
              <a:gd name="connsiteX11" fmla="*/ 739010 w 12197674"/>
              <a:gd name="connsiteY11" fmla="*/ 2145814 h 6858000"/>
              <a:gd name="connsiteX12" fmla="*/ 368162 w 12197674"/>
              <a:gd name="connsiteY12" fmla="*/ 2358110 h 6858000"/>
              <a:gd name="connsiteX13" fmla="*/ 368162 w 12197674"/>
              <a:gd name="connsiteY13" fmla="*/ 3212672 h 6858000"/>
              <a:gd name="connsiteX14" fmla="*/ 736323 w 12197674"/>
              <a:gd name="connsiteY14" fmla="*/ 3431688 h 6858000"/>
              <a:gd name="connsiteX15" fmla="*/ 736323 w 12197674"/>
              <a:gd name="connsiteY15" fmla="*/ 5574813 h 6858000"/>
              <a:gd name="connsiteX16" fmla="*/ 368162 w 12197674"/>
              <a:gd name="connsiteY16" fmla="*/ 5787110 h 6858000"/>
              <a:gd name="connsiteX17" fmla="*/ 368162 w 12197674"/>
              <a:gd name="connsiteY17" fmla="*/ 6858000 h 6858000"/>
              <a:gd name="connsiteX18" fmla="*/ 0 w 12197674"/>
              <a:gd name="connsiteY18" fmla="*/ 6858000 h 6858000"/>
              <a:gd name="connsiteX19" fmla="*/ 4434053 w 12197674"/>
              <a:gd name="connsiteY19" fmla="*/ 428626 h 6858000"/>
              <a:gd name="connsiteX20" fmla="*/ 4068581 w 12197674"/>
              <a:gd name="connsiteY20" fmla="*/ 642267 h 6858000"/>
              <a:gd name="connsiteX21" fmla="*/ 4434053 w 12197674"/>
              <a:gd name="connsiteY21" fmla="*/ 858595 h 6858000"/>
              <a:gd name="connsiteX22" fmla="*/ 3321509 w 12197674"/>
              <a:gd name="connsiteY22" fmla="*/ 0 h 6858000"/>
              <a:gd name="connsiteX23" fmla="*/ 12197674 w 12197674"/>
              <a:gd name="connsiteY23" fmla="*/ 0 h 6858000"/>
              <a:gd name="connsiteX24" fmla="*/ 12197674 w 12197674"/>
              <a:gd name="connsiteY24" fmla="*/ 6858000 h 6858000"/>
              <a:gd name="connsiteX25" fmla="*/ 2960066 w 12197674"/>
              <a:gd name="connsiteY25" fmla="*/ 6858000 h 6858000"/>
              <a:gd name="connsiteX26" fmla="*/ 2957378 w 12197674"/>
              <a:gd name="connsiteY26" fmla="*/ 6858000 h 6858000"/>
              <a:gd name="connsiteX27" fmla="*/ 2957378 w 12197674"/>
              <a:gd name="connsiteY27" fmla="*/ 6852626 h 6858000"/>
              <a:gd name="connsiteX28" fmla="*/ 2957378 w 12197674"/>
              <a:gd name="connsiteY28" fmla="*/ 5570782 h 6858000"/>
              <a:gd name="connsiteX29" fmla="*/ 3325540 w 12197674"/>
              <a:gd name="connsiteY29" fmla="*/ 5354454 h 6858000"/>
              <a:gd name="connsiteX30" fmla="*/ 3325540 w 12197674"/>
              <a:gd name="connsiteY30" fmla="*/ 4499891 h 6858000"/>
              <a:gd name="connsiteX31" fmla="*/ 3693701 w 12197674"/>
              <a:gd name="connsiteY31" fmla="*/ 4283563 h 6858000"/>
              <a:gd name="connsiteX32" fmla="*/ 3693701 w 12197674"/>
              <a:gd name="connsiteY32" fmla="*/ 3857625 h 6858000"/>
              <a:gd name="connsiteX33" fmla="*/ 4065892 w 12197674"/>
              <a:gd name="connsiteY33" fmla="*/ 3642641 h 6858000"/>
              <a:gd name="connsiteX34" fmla="*/ 4065892 w 12197674"/>
              <a:gd name="connsiteY34" fmla="*/ 1073578 h 6858000"/>
              <a:gd name="connsiteX35" fmla="*/ 3696388 w 12197674"/>
              <a:gd name="connsiteY35" fmla="*/ 854563 h 6858000"/>
              <a:gd name="connsiteX36" fmla="*/ 3696388 w 12197674"/>
              <a:gd name="connsiteY36" fmla="*/ 428625 h 6858000"/>
              <a:gd name="connsiteX37" fmla="*/ 3321509 w 12197674"/>
              <a:gd name="connsiteY37" fmla="*/ 216328 h 6858000"/>
              <a:gd name="connsiteX38" fmla="*/ 0 w 12197674"/>
              <a:gd name="connsiteY38" fmla="*/ 0 h 6858000"/>
              <a:gd name="connsiteX39" fmla="*/ 370849 w 12197674"/>
              <a:gd name="connsiteY39" fmla="*/ 0 h 6858000"/>
              <a:gd name="connsiteX40" fmla="*/ 370849 w 12197674"/>
              <a:gd name="connsiteY40" fmla="*/ 216328 h 6858000"/>
              <a:gd name="connsiteX41" fmla="*/ 0 w 12197674"/>
              <a:gd name="connsiteY41" fmla="*/ 4286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7674" h="6858000">
                <a:moveTo>
                  <a:pt x="4065892" y="5358485"/>
                </a:moveTo>
                <a:lnTo>
                  <a:pt x="3700420" y="5570782"/>
                </a:lnTo>
                <a:lnTo>
                  <a:pt x="4065892" y="5784423"/>
                </a:lnTo>
                <a:close/>
                <a:moveTo>
                  <a:pt x="4436741" y="3431688"/>
                </a:moveTo>
                <a:lnTo>
                  <a:pt x="4068580" y="3645329"/>
                </a:lnTo>
                <a:lnTo>
                  <a:pt x="4436741" y="3857626"/>
                </a:lnTo>
                <a:lnTo>
                  <a:pt x="4802214" y="3645329"/>
                </a:lnTo>
                <a:close/>
                <a:moveTo>
                  <a:pt x="0" y="854563"/>
                </a:moveTo>
                <a:lnTo>
                  <a:pt x="370849" y="1068204"/>
                </a:lnTo>
                <a:lnTo>
                  <a:pt x="368162" y="1499516"/>
                </a:lnTo>
                <a:lnTo>
                  <a:pt x="739010" y="1713157"/>
                </a:lnTo>
                <a:lnTo>
                  <a:pt x="739010" y="2145814"/>
                </a:lnTo>
                <a:lnTo>
                  <a:pt x="368162" y="2358110"/>
                </a:lnTo>
                <a:lnTo>
                  <a:pt x="368162" y="3212672"/>
                </a:lnTo>
                <a:lnTo>
                  <a:pt x="736323" y="3431688"/>
                </a:lnTo>
                <a:lnTo>
                  <a:pt x="736323" y="5574813"/>
                </a:lnTo>
                <a:lnTo>
                  <a:pt x="368162" y="5787110"/>
                </a:lnTo>
                <a:lnTo>
                  <a:pt x="368162" y="6858000"/>
                </a:lnTo>
                <a:lnTo>
                  <a:pt x="0" y="6858000"/>
                </a:lnTo>
                <a:close/>
                <a:moveTo>
                  <a:pt x="4434053" y="428626"/>
                </a:moveTo>
                <a:lnTo>
                  <a:pt x="4068581" y="642267"/>
                </a:lnTo>
                <a:lnTo>
                  <a:pt x="4434053" y="858595"/>
                </a:lnTo>
                <a:close/>
                <a:moveTo>
                  <a:pt x="3321509" y="0"/>
                </a:moveTo>
                <a:lnTo>
                  <a:pt x="12197674" y="0"/>
                </a:lnTo>
                <a:lnTo>
                  <a:pt x="12197674" y="6858000"/>
                </a:lnTo>
                <a:lnTo>
                  <a:pt x="2960066" y="6858000"/>
                </a:lnTo>
                <a:lnTo>
                  <a:pt x="2957378" y="6858000"/>
                </a:lnTo>
                <a:lnTo>
                  <a:pt x="2957378" y="6852626"/>
                </a:lnTo>
                <a:lnTo>
                  <a:pt x="2957378" y="5570782"/>
                </a:lnTo>
                <a:lnTo>
                  <a:pt x="3325540" y="5354454"/>
                </a:lnTo>
                <a:lnTo>
                  <a:pt x="3325540" y="4499891"/>
                </a:lnTo>
                <a:lnTo>
                  <a:pt x="3693701" y="4283563"/>
                </a:lnTo>
                <a:lnTo>
                  <a:pt x="3693701" y="3857625"/>
                </a:lnTo>
                <a:lnTo>
                  <a:pt x="4065892" y="3642641"/>
                </a:lnTo>
                <a:lnTo>
                  <a:pt x="4065892" y="1073578"/>
                </a:lnTo>
                <a:lnTo>
                  <a:pt x="3696388" y="854563"/>
                </a:lnTo>
                <a:lnTo>
                  <a:pt x="3696388" y="428625"/>
                </a:lnTo>
                <a:lnTo>
                  <a:pt x="3321509" y="216328"/>
                </a:lnTo>
                <a:close/>
                <a:moveTo>
                  <a:pt x="0" y="0"/>
                </a:moveTo>
                <a:lnTo>
                  <a:pt x="370849" y="0"/>
                </a:lnTo>
                <a:lnTo>
                  <a:pt x="370849" y="216328"/>
                </a:lnTo>
                <a:lnTo>
                  <a:pt x="0" y="428625"/>
                </a:ln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1" name="Freeform 10"/>
          <p:cNvSpPr>
            <a:spLocks/>
          </p:cNvSpPr>
          <p:nvPr userDrawn="1"/>
        </p:nvSpPr>
        <p:spPr bwMode="auto">
          <a:xfrm>
            <a:off x="4436739" y="1287219"/>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E9B43"/>
              </a:gs>
              <a:gs pos="100000">
                <a:srgbClr val="FE9441"/>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2" name="Freeform 11"/>
          <p:cNvSpPr>
            <a:spLocks/>
          </p:cNvSpPr>
          <p:nvPr userDrawn="1"/>
        </p:nvSpPr>
        <p:spPr bwMode="auto">
          <a:xfrm>
            <a:off x="1111200" y="1070891"/>
            <a:ext cx="368161" cy="425938"/>
          </a:xfrm>
          <a:custGeom>
            <a:avLst/>
            <a:gdLst>
              <a:gd name="T0" fmla="*/ 0 w 274"/>
              <a:gd name="T1" fmla="*/ 317 h 317"/>
              <a:gd name="T2" fmla="*/ 0 w 274"/>
              <a:gd name="T3" fmla="*/ 0 h 317"/>
              <a:gd name="T4" fmla="*/ 274 w 274"/>
              <a:gd name="T5" fmla="*/ 159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9"/>
                </a:lnTo>
                <a:lnTo>
                  <a:pt x="0" y="317"/>
                </a:lnTo>
                <a:close/>
              </a:path>
            </a:pathLst>
          </a:custGeom>
          <a:gradFill>
            <a:gsLst>
              <a:gs pos="0">
                <a:srgbClr val="FE9B43"/>
              </a:gs>
              <a:gs pos="100000">
                <a:srgbClr val="FE9441"/>
              </a:gs>
            </a:gsLst>
            <a:lin ang="5400000" scaled="1"/>
          </a:gradFill>
          <a:ln>
            <a:noFill/>
          </a:ln>
        </p:spPr>
        <p:txBody>
          <a:bodyPr vert="horz" wrap="square" lIns="91440" tIns="45720" rIns="91440" bIns="45720" numCol="1" anchor="t" anchorCtr="0" compatLnSpc="1">
            <a:prstTxWarp prst="textNoShape">
              <a:avLst/>
            </a:prstTxWarp>
          </a:bodyPr>
          <a:lstStyle/>
          <a:p>
            <a:pPr lv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6" name="Freeform 15"/>
          <p:cNvSpPr>
            <a:spLocks/>
          </p:cNvSpPr>
          <p:nvPr userDrawn="1"/>
        </p:nvSpPr>
        <p:spPr bwMode="auto">
          <a:xfrm>
            <a:off x="736321" y="6003437"/>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5D4264"/>
              </a:gs>
              <a:gs pos="100000">
                <a:srgbClr val="463B6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7" name="Freeform 16"/>
          <p:cNvSpPr>
            <a:spLocks/>
          </p:cNvSpPr>
          <p:nvPr userDrawn="1"/>
        </p:nvSpPr>
        <p:spPr bwMode="auto">
          <a:xfrm>
            <a:off x="3700418" y="6215734"/>
            <a:ext cx="365473" cy="425938"/>
          </a:xfrm>
          <a:custGeom>
            <a:avLst/>
            <a:gdLst>
              <a:gd name="T0" fmla="*/ 272 w 272"/>
              <a:gd name="T1" fmla="*/ 317 h 317"/>
              <a:gd name="T2" fmla="*/ 272 w 272"/>
              <a:gd name="T3" fmla="*/ 0 h 317"/>
              <a:gd name="T4" fmla="*/ 0 w 272"/>
              <a:gd name="T5" fmla="*/ 159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272" y="0"/>
                </a:lnTo>
                <a:lnTo>
                  <a:pt x="0" y="159"/>
                </a:lnTo>
                <a:lnTo>
                  <a:pt x="272" y="317"/>
                </a:lnTo>
                <a:close/>
              </a:path>
            </a:pathLst>
          </a:custGeom>
          <a:gradFill>
            <a:gsLst>
              <a:gs pos="0">
                <a:srgbClr val="4B3C66"/>
              </a:gs>
              <a:gs pos="100000">
                <a:srgbClr val="39386B"/>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 name="Freeform 11"/>
          <p:cNvSpPr>
            <a:spLocks/>
          </p:cNvSpPr>
          <p:nvPr userDrawn="1"/>
        </p:nvSpPr>
        <p:spPr bwMode="auto">
          <a:xfrm>
            <a:off x="3325539" y="5784422"/>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66425F"/>
              </a:gs>
              <a:gs pos="100000">
                <a:srgbClr val="513E6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 name="Freeform 12"/>
          <p:cNvSpPr>
            <a:spLocks/>
          </p:cNvSpPr>
          <p:nvPr userDrawn="1"/>
        </p:nvSpPr>
        <p:spPr bwMode="auto">
          <a:xfrm>
            <a:off x="3332257" y="2793453"/>
            <a:ext cx="368161" cy="425938"/>
          </a:xfrm>
          <a:custGeom>
            <a:avLst/>
            <a:gdLst>
              <a:gd name="T0" fmla="*/ 0 w 274"/>
              <a:gd name="T1" fmla="*/ 317 h 317"/>
              <a:gd name="T2" fmla="*/ 0 w 274"/>
              <a:gd name="T3" fmla="*/ 0 h 317"/>
              <a:gd name="T4" fmla="*/ 274 w 274"/>
              <a:gd name="T5" fmla="*/ 159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9"/>
                </a:lnTo>
                <a:lnTo>
                  <a:pt x="0" y="317"/>
                </a:lnTo>
                <a:close/>
              </a:path>
            </a:pathLst>
          </a:custGeom>
          <a:gradFill>
            <a:gsLst>
              <a:gs pos="0">
                <a:srgbClr val="FF7638"/>
              </a:gs>
              <a:gs pos="100000">
                <a:srgbClr val="FF6E3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3" name="Freeform 13"/>
          <p:cNvSpPr>
            <a:spLocks/>
          </p:cNvSpPr>
          <p:nvPr userDrawn="1"/>
        </p:nvSpPr>
        <p:spPr bwMode="auto">
          <a:xfrm>
            <a:off x="1111200" y="1713156"/>
            <a:ext cx="368161" cy="428625"/>
          </a:xfrm>
          <a:custGeom>
            <a:avLst/>
            <a:gdLst>
              <a:gd name="T0" fmla="*/ 274 w 274"/>
              <a:gd name="T1" fmla="*/ 319 h 319"/>
              <a:gd name="T2" fmla="*/ 274 w 274"/>
              <a:gd name="T3" fmla="*/ 0 h 319"/>
              <a:gd name="T4" fmla="*/ 0 w 274"/>
              <a:gd name="T5" fmla="*/ 158 h 319"/>
              <a:gd name="T6" fmla="*/ 274 w 274"/>
              <a:gd name="T7" fmla="*/ 319 h 319"/>
            </a:gdLst>
            <a:ahLst/>
            <a:cxnLst>
              <a:cxn ang="0">
                <a:pos x="T0" y="T1"/>
              </a:cxn>
              <a:cxn ang="0">
                <a:pos x="T2" y="T3"/>
              </a:cxn>
              <a:cxn ang="0">
                <a:pos x="T4" y="T5"/>
              </a:cxn>
              <a:cxn ang="0">
                <a:pos x="T6" y="T7"/>
              </a:cxn>
            </a:cxnLst>
            <a:rect l="0" t="0" r="r" b="b"/>
            <a:pathLst>
              <a:path w="274" h="319">
                <a:moveTo>
                  <a:pt x="274" y="319"/>
                </a:moveTo>
                <a:lnTo>
                  <a:pt x="274" y="0"/>
                </a:lnTo>
                <a:lnTo>
                  <a:pt x="0" y="158"/>
                </a:lnTo>
                <a:lnTo>
                  <a:pt x="274" y="319"/>
                </a:lnTo>
                <a:close/>
              </a:path>
            </a:pathLst>
          </a:custGeom>
          <a:gradFill>
            <a:gsLst>
              <a:gs pos="0">
                <a:srgbClr val="FE9040"/>
              </a:gs>
              <a:gs pos="100000">
                <a:srgbClr val="FE893D"/>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Freeform 14"/>
          <p:cNvSpPr>
            <a:spLocks/>
          </p:cNvSpPr>
          <p:nvPr userDrawn="1"/>
        </p:nvSpPr>
        <p:spPr bwMode="auto">
          <a:xfrm>
            <a:off x="4065891" y="4283563"/>
            <a:ext cx="729603" cy="1074922"/>
          </a:xfrm>
          <a:custGeom>
            <a:avLst/>
            <a:gdLst>
              <a:gd name="T0" fmla="*/ 0 w 543"/>
              <a:gd name="T1" fmla="*/ 159 h 800"/>
              <a:gd name="T2" fmla="*/ 0 w 543"/>
              <a:gd name="T3" fmla="*/ 800 h 800"/>
              <a:gd name="T4" fmla="*/ 272 w 543"/>
              <a:gd name="T5" fmla="*/ 641 h 800"/>
              <a:gd name="T6" fmla="*/ 272 w 543"/>
              <a:gd name="T7" fmla="*/ 317 h 800"/>
              <a:gd name="T8" fmla="*/ 543 w 543"/>
              <a:gd name="T9" fmla="*/ 159 h 800"/>
              <a:gd name="T10" fmla="*/ 272 w 543"/>
              <a:gd name="T11" fmla="*/ 0 h 800"/>
              <a:gd name="T12" fmla="*/ 0 w 543"/>
              <a:gd name="T13" fmla="*/ 159 h 800"/>
            </a:gdLst>
            <a:ahLst/>
            <a:cxnLst>
              <a:cxn ang="0">
                <a:pos x="T0" y="T1"/>
              </a:cxn>
              <a:cxn ang="0">
                <a:pos x="T2" y="T3"/>
              </a:cxn>
              <a:cxn ang="0">
                <a:pos x="T4" y="T5"/>
              </a:cxn>
              <a:cxn ang="0">
                <a:pos x="T6" y="T7"/>
              </a:cxn>
              <a:cxn ang="0">
                <a:pos x="T8" y="T9"/>
              </a:cxn>
              <a:cxn ang="0">
                <a:pos x="T10" y="T11"/>
              </a:cxn>
              <a:cxn ang="0">
                <a:pos x="T12" y="T13"/>
              </a:cxn>
            </a:cxnLst>
            <a:rect l="0" t="0" r="r" b="b"/>
            <a:pathLst>
              <a:path w="543" h="800">
                <a:moveTo>
                  <a:pt x="0" y="159"/>
                </a:moveTo>
                <a:lnTo>
                  <a:pt x="0" y="800"/>
                </a:lnTo>
                <a:lnTo>
                  <a:pt x="272" y="641"/>
                </a:lnTo>
                <a:lnTo>
                  <a:pt x="272" y="317"/>
                </a:lnTo>
                <a:lnTo>
                  <a:pt x="543" y="159"/>
                </a:lnTo>
                <a:lnTo>
                  <a:pt x="272" y="0"/>
                </a:lnTo>
                <a:lnTo>
                  <a:pt x="0" y="159"/>
                </a:lnTo>
                <a:close/>
              </a:path>
            </a:pathLst>
          </a:custGeom>
          <a:gradFill>
            <a:gsLst>
              <a:gs pos="0">
                <a:srgbClr val="C65943"/>
              </a:gs>
              <a:gs pos="100000">
                <a:srgbClr val="8C4B5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5" name="Freeform 15"/>
          <p:cNvSpPr>
            <a:spLocks/>
          </p:cNvSpPr>
          <p:nvPr userDrawn="1"/>
        </p:nvSpPr>
        <p:spPr bwMode="auto">
          <a:xfrm>
            <a:off x="370848" y="428625"/>
            <a:ext cx="730947" cy="425938"/>
          </a:xfrm>
          <a:custGeom>
            <a:avLst/>
            <a:gdLst>
              <a:gd name="T0" fmla="*/ 272 w 544"/>
              <a:gd name="T1" fmla="*/ 0 h 317"/>
              <a:gd name="T2" fmla="*/ 0 w 544"/>
              <a:gd name="T3" fmla="*/ 159 h 317"/>
              <a:gd name="T4" fmla="*/ 272 w 544"/>
              <a:gd name="T5" fmla="*/ 317 h 317"/>
              <a:gd name="T6" fmla="*/ 544 w 544"/>
              <a:gd name="T7" fmla="*/ 159 h 317"/>
              <a:gd name="T8" fmla="*/ 272 w 544"/>
              <a:gd name="T9" fmla="*/ 0 h 317"/>
            </a:gdLst>
            <a:ahLst/>
            <a:cxnLst>
              <a:cxn ang="0">
                <a:pos x="T0" y="T1"/>
              </a:cxn>
              <a:cxn ang="0">
                <a:pos x="T2" y="T3"/>
              </a:cxn>
              <a:cxn ang="0">
                <a:pos x="T4" y="T5"/>
              </a:cxn>
              <a:cxn ang="0">
                <a:pos x="T6" y="T7"/>
              </a:cxn>
              <a:cxn ang="0">
                <a:pos x="T8" y="T9"/>
              </a:cxn>
            </a:cxnLst>
            <a:rect l="0" t="0" r="r" b="b"/>
            <a:pathLst>
              <a:path w="544" h="317">
                <a:moveTo>
                  <a:pt x="272" y="0"/>
                </a:moveTo>
                <a:lnTo>
                  <a:pt x="0" y="159"/>
                </a:lnTo>
                <a:lnTo>
                  <a:pt x="272" y="317"/>
                </a:lnTo>
                <a:lnTo>
                  <a:pt x="544" y="159"/>
                </a:lnTo>
                <a:lnTo>
                  <a:pt x="272" y="0"/>
                </a:lnTo>
                <a:close/>
              </a:path>
            </a:pathLst>
          </a:custGeom>
          <a:gradFill>
            <a:gsLst>
              <a:gs pos="0">
                <a:srgbClr val="FDB14A"/>
              </a:gs>
              <a:gs pos="100000">
                <a:srgbClr val="FDA94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6" name="Freeform 16"/>
          <p:cNvSpPr>
            <a:spLocks/>
          </p:cNvSpPr>
          <p:nvPr userDrawn="1"/>
        </p:nvSpPr>
        <p:spPr bwMode="auto">
          <a:xfrm>
            <a:off x="4436739" y="2370202"/>
            <a:ext cx="368161" cy="636891"/>
          </a:xfrm>
          <a:custGeom>
            <a:avLst/>
            <a:gdLst>
              <a:gd name="T0" fmla="*/ 0 w 274"/>
              <a:gd name="T1" fmla="*/ 157 h 474"/>
              <a:gd name="T2" fmla="*/ 3 w 274"/>
              <a:gd name="T3" fmla="*/ 474 h 474"/>
              <a:gd name="T4" fmla="*/ 274 w 274"/>
              <a:gd name="T5" fmla="*/ 315 h 474"/>
              <a:gd name="T6" fmla="*/ 272 w 274"/>
              <a:gd name="T7" fmla="*/ 0 h 474"/>
              <a:gd name="T8" fmla="*/ 0 w 274"/>
              <a:gd name="T9" fmla="*/ 157 h 474"/>
            </a:gdLst>
            <a:ahLst/>
            <a:cxnLst>
              <a:cxn ang="0">
                <a:pos x="T0" y="T1"/>
              </a:cxn>
              <a:cxn ang="0">
                <a:pos x="T2" y="T3"/>
              </a:cxn>
              <a:cxn ang="0">
                <a:pos x="T4" y="T5"/>
              </a:cxn>
              <a:cxn ang="0">
                <a:pos x="T6" y="T7"/>
              </a:cxn>
              <a:cxn ang="0">
                <a:pos x="T8" y="T9"/>
              </a:cxn>
            </a:cxnLst>
            <a:rect l="0" t="0" r="r" b="b"/>
            <a:pathLst>
              <a:path w="274" h="474">
                <a:moveTo>
                  <a:pt x="0" y="157"/>
                </a:moveTo>
                <a:lnTo>
                  <a:pt x="3" y="474"/>
                </a:lnTo>
                <a:lnTo>
                  <a:pt x="274" y="315"/>
                </a:lnTo>
                <a:lnTo>
                  <a:pt x="272" y="0"/>
                </a:lnTo>
                <a:lnTo>
                  <a:pt x="0" y="157"/>
                </a:lnTo>
                <a:close/>
              </a:path>
            </a:pathLst>
          </a:custGeom>
          <a:gradFill>
            <a:gsLst>
              <a:gs pos="0">
                <a:srgbClr val="FE803B"/>
              </a:gs>
              <a:gs pos="100000">
                <a:srgbClr val="FF733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7" name="Freeform 21"/>
          <p:cNvSpPr>
            <a:spLocks/>
          </p:cNvSpPr>
          <p:nvPr userDrawn="1"/>
        </p:nvSpPr>
        <p:spPr bwMode="auto">
          <a:xfrm>
            <a:off x="3337632" y="858594"/>
            <a:ext cx="730947" cy="854563"/>
          </a:xfrm>
          <a:custGeom>
            <a:avLst/>
            <a:gdLst>
              <a:gd name="T0" fmla="*/ 0 w 544"/>
              <a:gd name="T1" fmla="*/ 477 h 636"/>
              <a:gd name="T2" fmla="*/ 0 w 544"/>
              <a:gd name="T3" fmla="*/ 160 h 636"/>
              <a:gd name="T4" fmla="*/ 272 w 544"/>
              <a:gd name="T5" fmla="*/ 0 h 636"/>
              <a:gd name="T6" fmla="*/ 272 w 544"/>
              <a:gd name="T7" fmla="*/ 319 h 636"/>
              <a:gd name="T8" fmla="*/ 544 w 544"/>
              <a:gd name="T9" fmla="*/ 477 h 636"/>
              <a:gd name="T10" fmla="*/ 272 w 544"/>
              <a:gd name="T11" fmla="*/ 636 h 636"/>
              <a:gd name="T12" fmla="*/ 0 w 544"/>
              <a:gd name="T13" fmla="*/ 477 h 636"/>
            </a:gdLst>
            <a:ahLst/>
            <a:cxnLst>
              <a:cxn ang="0">
                <a:pos x="T0" y="T1"/>
              </a:cxn>
              <a:cxn ang="0">
                <a:pos x="T2" y="T3"/>
              </a:cxn>
              <a:cxn ang="0">
                <a:pos x="T4" y="T5"/>
              </a:cxn>
              <a:cxn ang="0">
                <a:pos x="T6" y="T7"/>
              </a:cxn>
              <a:cxn ang="0">
                <a:pos x="T8" y="T9"/>
              </a:cxn>
              <a:cxn ang="0">
                <a:pos x="T10" y="T11"/>
              </a:cxn>
              <a:cxn ang="0">
                <a:pos x="T12" y="T13"/>
              </a:cxn>
            </a:cxnLst>
            <a:rect l="0" t="0" r="r" b="b"/>
            <a:pathLst>
              <a:path w="544" h="636">
                <a:moveTo>
                  <a:pt x="0" y="477"/>
                </a:moveTo>
                <a:lnTo>
                  <a:pt x="0" y="160"/>
                </a:lnTo>
                <a:lnTo>
                  <a:pt x="272" y="0"/>
                </a:lnTo>
                <a:lnTo>
                  <a:pt x="272" y="319"/>
                </a:lnTo>
                <a:lnTo>
                  <a:pt x="544" y="477"/>
                </a:lnTo>
                <a:lnTo>
                  <a:pt x="272" y="636"/>
                </a:lnTo>
                <a:lnTo>
                  <a:pt x="0" y="477"/>
                </a:lnTo>
                <a:close/>
              </a:path>
            </a:pathLst>
          </a:custGeom>
          <a:gradFill>
            <a:gsLst>
              <a:gs pos="0">
                <a:srgbClr val="FEA646"/>
              </a:gs>
              <a:gs pos="100000">
                <a:srgbClr val="FF9340"/>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8" name="Freeform 22"/>
          <p:cNvSpPr>
            <a:spLocks/>
          </p:cNvSpPr>
          <p:nvPr userDrawn="1"/>
        </p:nvSpPr>
        <p:spPr bwMode="auto">
          <a:xfrm>
            <a:off x="2219713" y="4499891"/>
            <a:ext cx="368161" cy="849188"/>
          </a:xfrm>
          <a:custGeom>
            <a:avLst/>
            <a:gdLst>
              <a:gd name="T0" fmla="*/ 274 w 274"/>
              <a:gd name="T1" fmla="*/ 0 h 632"/>
              <a:gd name="T2" fmla="*/ 274 w 274"/>
              <a:gd name="T3" fmla="*/ 317 h 632"/>
              <a:gd name="T4" fmla="*/ 274 w 274"/>
              <a:gd name="T5" fmla="*/ 632 h 632"/>
              <a:gd name="T6" fmla="*/ 0 w 274"/>
              <a:gd name="T7" fmla="*/ 471 h 632"/>
              <a:gd name="T8" fmla="*/ 0 w 274"/>
              <a:gd name="T9" fmla="*/ 156 h 632"/>
              <a:gd name="T10" fmla="*/ 274 w 274"/>
              <a:gd name="T11" fmla="*/ 0 h 632"/>
            </a:gdLst>
            <a:ahLst/>
            <a:cxnLst>
              <a:cxn ang="0">
                <a:pos x="T0" y="T1"/>
              </a:cxn>
              <a:cxn ang="0">
                <a:pos x="T2" y="T3"/>
              </a:cxn>
              <a:cxn ang="0">
                <a:pos x="T4" y="T5"/>
              </a:cxn>
              <a:cxn ang="0">
                <a:pos x="T6" y="T7"/>
              </a:cxn>
              <a:cxn ang="0">
                <a:pos x="T8" y="T9"/>
              </a:cxn>
              <a:cxn ang="0">
                <a:pos x="T10" y="T11"/>
              </a:cxn>
            </a:cxnLst>
            <a:rect l="0" t="0" r="r" b="b"/>
            <a:pathLst>
              <a:path w="274" h="632">
                <a:moveTo>
                  <a:pt x="274" y="0"/>
                </a:moveTo>
                <a:lnTo>
                  <a:pt x="274" y="317"/>
                </a:lnTo>
                <a:lnTo>
                  <a:pt x="274" y="632"/>
                </a:lnTo>
                <a:lnTo>
                  <a:pt x="0" y="471"/>
                </a:lnTo>
                <a:lnTo>
                  <a:pt x="0" y="156"/>
                </a:lnTo>
                <a:lnTo>
                  <a:pt x="274" y="0"/>
                </a:lnTo>
                <a:close/>
              </a:path>
            </a:pathLst>
          </a:custGeom>
          <a:gradFill>
            <a:gsLst>
              <a:gs pos="0">
                <a:srgbClr val="B85547"/>
              </a:gs>
              <a:gs pos="100000">
                <a:srgbClr val="8A4B5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9" name="Freeform 24"/>
          <p:cNvSpPr>
            <a:spLocks/>
          </p:cNvSpPr>
          <p:nvPr userDrawn="1"/>
        </p:nvSpPr>
        <p:spPr bwMode="auto">
          <a:xfrm>
            <a:off x="368161" y="3645328"/>
            <a:ext cx="368161" cy="425938"/>
          </a:xfrm>
          <a:custGeom>
            <a:avLst/>
            <a:gdLst>
              <a:gd name="T0" fmla="*/ 0 w 274"/>
              <a:gd name="T1" fmla="*/ 317 h 317"/>
              <a:gd name="T2" fmla="*/ 0 w 274"/>
              <a:gd name="T3" fmla="*/ 0 h 317"/>
              <a:gd name="T4" fmla="*/ 274 w 274"/>
              <a:gd name="T5" fmla="*/ 158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8"/>
                </a:lnTo>
                <a:lnTo>
                  <a:pt x="0" y="317"/>
                </a:lnTo>
                <a:close/>
              </a:path>
            </a:pathLst>
          </a:custGeom>
          <a:gradFill>
            <a:gsLst>
              <a:gs pos="0">
                <a:srgbClr val="EE6238"/>
              </a:gs>
              <a:gs pos="100000">
                <a:srgbClr val="DB5E3D"/>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30" name="Freeform 25"/>
          <p:cNvSpPr>
            <a:spLocks/>
          </p:cNvSpPr>
          <p:nvPr userDrawn="1"/>
        </p:nvSpPr>
        <p:spPr bwMode="auto">
          <a:xfrm>
            <a:off x="0" y="4292968"/>
            <a:ext cx="368161" cy="846501"/>
          </a:xfrm>
          <a:custGeom>
            <a:avLst/>
            <a:gdLst>
              <a:gd name="T0" fmla="*/ 0 w 274"/>
              <a:gd name="T1" fmla="*/ 0 h 630"/>
              <a:gd name="T2" fmla="*/ 0 w 274"/>
              <a:gd name="T3" fmla="*/ 315 h 630"/>
              <a:gd name="T4" fmla="*/ 0 w 274"/>
              <a:gd name="T5" fmla="*/ 630 h 630"/>
              <a:gd name="T6" fmla="*/ 274 w 274"/>
              <a:gd name="T7" fmla="*/ 471 h 630"/>
              <a:gd name="T8" fmla="*/ 274 w 274"/>
              <a:gd name="T9" fmla="*/ 157 h 630"/>
              <a:gd name="T10" fmla="*/ 0 w 274"/>
              <a:gd name="T11" fmla="*/ 0 h 630"/>
            </a:gdLst>
            <a:ahLst/>
            <a:cxnLst>
              <a:cxn ang="0">
                <a:pos x="T0" y="T1"/>
              </a:cxn>
              <a:cxn ang="0">
                <a:pos x="T2" y="T3"/>
              </a:cxn>
              <a:cxn ang="0">
                <a:pos x="T4" y="T5"/>
              </a:cxn>
              <a:cxn ang="0">
                <a:pos x="T6" y="T7"/>
              </a:cxn>
              <a:cxn ang="0">
                <a:pos x="T8" y="T9"/>
              </a:cxn>
              <a:cxn ang="0">
                <a:pos x="T10" y="T11"/>
              </a:cxn>
            </a:cxnLst>
            <a:rect l="0" t="0" r="r" b="b"/>
            <a:pathLst>
              <a:path w="274" h="630">
                <a:moveTo>
                  <a:pt x="0" y="0"/>
                </a:moveTo>
                <a:lnTo>
                  <a:pt x="0" y="315"/>
                </a:lnTo>
                <a:lnTo>
                  <a:pt x="0" y="630"/>
                </a:lnTo>
                <a:lnTo>
                  <a:pt x="274" y="471"/>
                </a:lnTo>
                <a:lnTo>
                  <a:pt x="274" y="157"/>
                </a:lnTo>
                <a:lnTo>
                  <a:pt x="0" y="0"/>
                </a:lnTo>
                <a:close/>
              </a:path>
            </a:pathLst>
          </a:custGeom>
          <a:gradFill>
            <a:gsLst>
              <a:gs pos="0">
                <a:srgbClr val="C35844"/>
              </a:gs>
              <a:gs pos="92000">
                <a:srgbClr val="8A4B54"/>
              </a:gs>
            </a:gsLst>
            <a:lin ang="5400000" scaled="1"/>
          </a:gradFill>
          <a:ln>
            <a:noFill/>
          </a:ln>
        </p:spPr>
        <p:txBody>
          <a:bodyPr vert="horz" wrap="square" lIns="91440" tIns="45720" rIns="91440" bIns="45720" numCol="1" anchor="t" anchorCtr="0" compatLnSpc="1">
            <a:prstTxWarp prst="textNoShape">
              <a:avLst/>
            </a:prstTxWarp>
          </a:bodyPr>
          <a:lstStyle/>
          <a:p>
            <a:pPr lv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1" name="Picture Placeholder 13">
            <a:extLst>
              <a:ext uri="{FF2B5EF4-FFF2-40B4-BE49-F238E27FC236}">
                <a16:creationId xmlns:a16="http://schemas.microsoft.com/office/drawing/2014/main" id="{B27FB25A-25C1-1145-91A1-08CB3FC40AE3}"/>
              </a:ext>
            </a:extLst>
          </p:cNvPr>
          <p:cNvSpPr>
            <a:spLocks noGrp="1"/>
          </p:cNvSpPr>
          <p:nvPr>
            <p:ph type="pic" sz="quarter" idx="10"/>
          </p:nvPr>
        </p:nvSpPr>
        <p:spPr>
          <a:xfrm>
            <a:off x="0" y="2"/>
            <a:ext cx="5235878" cy="6857999"/>
          </a:xfrm>
          <a:custGeom>
            <a:avLst/>
            <a:gdLst>
              <a:gd name="connsiteX0" fmla="*/ 750460 w 5235878"/>
              <a:gd name="connsiteY0" fmla="*/ 6019914 h 6857999"/>
              <a:gd name="connsiteX1" fmla="*/ 750460 w 5235878"/>
              <a:gd name="connsiteY1" fmla="*/ 6412896 h 6857999"/>
              <a:gd name="connsiteX2" fmla="*/ 1087656 w 5235878"/>
              <a:gd name="connsiteY2" fmla="*/ 6215785 h 6857999"/>
              <a:gd name="connsiteX3" fmla="*/ 4065891 w 5235878"/>
              <a:gd name="connsiteY3" fmla="*/ 5358483 h 6857999"/>
              <a:gd name="connsiteX4" fmla="*/ 4065891 w 5235878"/>
              <a:gd name="connsiteY4" fmla="*/ 5784421 h 6857999"/>
              <a:gd name="connsiteX5" fmla="*/ 3700419 w 5235878"/>
              <a:gd name="connsiteY5" fmla="*/ 5570780 h 6857999"/>
              <a:gd name="connsiteX6" fmla="*/ 2573632 w 5235878"/>
              <a:gd name="connsiteY6" fmla="*/ 4532742 h 6857999"/>
              <a:gd name="connsiteX7" fmla="*/ 2233956 w 5235878"/>
              <a:gd name="connsiteY7" fmla="*/ 4726134 h 6857999"/>
              <a:gd name="connsiteX8" fmla="*/ 2233956 w 5235878"/>
              <a:gd name="connsiteY8" fmla="*/ 5116636 h 6857999"/>
              <a:gd name="connsiteX9" fmla="*/ 2573632 w 5235878"/>
              <a:gd name="connsiteY9" fmla="*/ 5316226 h 6857999"/>
              <a:gd name="connsiteX10" fmla="*/ 2573632 w 5235878"/>
              <a:gd name="connsiteY10" fmla="*/ 4925724 h 6857999"/>
              <a:gd name="connsiteX11" fmla="*/ 4436740 w 5235878"/>
              <a:gd name="connsiteY11" fmla="*/ 3431686 h 6857999"/>
              <a:gd name="connsiteX12" fmla="*/ 4802213 w 5235878"/>
              <a:gd name="connsiteY12" fmla="*/ 3645327 h 6857999"/>
              <a:gd name="connsiteX13" fmla="*/ 4436740 w 5235878"/>
              <a:gd name="connsiteY13" fmla="*/ 3857624 h 6857999"/>
              <a:gd name="connsiteX14" fmla="*/ 4068579 w 5235878"/>
              <a:gd name="connsiteY14" fmla="*/ 3645327 h 6857999"/>
              <a:gd name="connsiteX15" fmla="*/ 3346500 w 5235878"/>
              <a:gd name="connsiteY15" fmla="*/ 2809931 h 6857999"/>
              <a:gd name="connsiteX16" fmla="*/ 3346500 w 5235878"/>
              <a:gd name="connsiteY16" fmla="*/ 3202913 h 6857999"/>
              <a:gd name="connsiteX17" fmla="*/ 3686176 w 5235878"/>
              <a:gd name="connsiteY17" fmla="*/ 3007041 h 6857999"/>
              <a:gd name="connsiteX18" fmla="*/ 1465119 w 5235878"/>
              <a:gd name="connsiteY18" fmla="*/ 1729739 h 6857999"/>
              <a:gd name="connsiteX19" fmla="*/ 1125444 w 5235878"/>
              <a:gd name="connsiteY19" fmla="*/ 1925609 h 6857999"/>
              <a:gd name="connsiteX20" fmla="*/ 1465119 w 5235878"/>
              <a:gd name="connsiteY20" fmla="*/ 2125199 h 6857999"/>
              <a:gd name="connsiteX21" fmla="*/ 1125444 w 5235878"/>
              <a:gd name="connsiteY21" fmla="*/ 1087369 h 6857999"/>
              <a:gd name="connsiteX22" fmla="*/ 1125444 w 5235878"/>
              <a:gd name="connsiteY22" fmla="*/ 1480351 h 6857999"/>
              <a:gd name="connsiteX23" fmla="*/ 1465120 w 5235878"/>
              <a:gd name="connsiteY23" fmla="*/ 1284480 h 6857999"/>
              <a:gd name="connsiteX24" fmla="*/ 3703106 w 5235878"/>
              <a:gd name="connsiteY24" fmla="*/ 891654 h 6857999"/>
              <a:gd name="connsiteX25" fmla="*/ 3365910 w 5235878"/>
              <a:gd name="connsiteY25" fmla="*/ 1090004 h 6857999"/>
              <a:gd name="connsiteX26" fmla="*/ 3365910 w 5235878"/>
              <a:gd name="connsiteY26" fmla="*/ 1482986 h 6857999"/>
              <a:gd name="connsiteX27" fmla="*/ 3703106 w 5235878"/>
              <a:gd name="connsiteY27" fmla="*/ 1680096 h 6857999"/>
              <a:gd name="connsiteX28" fmla="*/ 4040302 w 5235878"/>
              <a:gd name="connsiteY28" fmla="*/ 1482986 h 6857999"/>
              <a:gd name="connsiteX29" fmla="*/ 3703106 w 5235878"/>
              <a:gd name="connsiteY29" fmla="*/ 1287115 h 6857999"/>
              <a:gd name="connsiteX30" fmla="*/ 736322 w 5235878"/>
              <a:gd name="connsiteY30" fmla="*/ 445102 h 6857999"/>
              <a:gd name="connsiteX31" fmla="*/ 399126 w 5235878"/>
              <a:gd name="connsiteY31" fmla="*/ 642213 h 6857999"/>
              <a:gd name="connsiteX32" fmla="*/ 736322 w 5235878"/>
              <a:gd name="connsiteY32" fmla="*/ 838084 h 6857999"/>
              <a:gd name="connsiteX33" fmla="*/ 1073518 w 5235878"/>
              <a:gd name="connsiteY33" fmla="*/ 642213 h 6857999"/>
              <a:gd name="connsiteX34" fmla="*/ 4434052 w 5235878"/>
              <a:gd name="connsiteY34" fmla="*/ 428625 h 6857999"/>
              <a:gd name="connsiteX35" fmla="*/ 4434052 w 5235878"/>
              <a:gd name="connsiteY35" fmla="*/ 858594 h 6857999"/>
              <a:gd name="connsiteX36" fmla="*/ 4068580 w 5235878"/>
              <a:gd name="connsiteY36" fmla="*/ 642266 h 6857999"/>
              <a:gd name="connsiteX37" fmla="*/ 370849 w 5235878"/>
              <a:gd name="connsiteY37" fmla="*/ 0 h 6857999"/>
              <a:gd name="connsiteX38" fmla="*/ 3321508 w 5235878"/>
              <a:gd name="connsiteY38" fmla="*/ 0 h 6857999"/>
              <a:gd name="connsiteX39" fmla="*/ 3321508 w 5235878"/>
              <a:gd name="connsiteY39" fmla="*/ 216327 h 6857999"/>
              <a:gd name="connsiteX40" fmla="*/ 3696387 w 5235878"/>
              <a:gd name="connsiteY40" fmla="*/ 428624 h 6857999"/>
              <a:gd name="connsiteX41" fmla="*/ 3696387 w 5235878"/>
              <a:gd name="connsiteY41" fmla="*/ 854562 h 6857999"/>
              <a:gd name="connsiteX42" fmla="*/ 4065891 w 5235878"/>
              <a:gd name="connsiteY42" fmla="*/ 1073577 h 6857999"/>
              <a:gd name="connsiteX43" fmla="*/ 4065891 w 5235878"/>
              <a:gd name="connsiteY43" fmla="*/ 3642639 h 6857999"/>
              <a:gd name="connsiteX44" fmla="*/ 3693700 w 5235878"/>
              <a:gd name="connsiteY44" fmla="*/ 3857623 h 6857999"/>
              <a:gd name="connsiteX45" fmla="*/ 3693700 w 5235878"/>
              <a:gd name="connsiteY45" fmla="*/ 4283561 h 6857999"/>
              <a:gd name="connsiteX46" fmla="*/ 3325539 w 5235878"/>
              <a:gd name="connsiteY46" fmla="*/ 4499889 h 6857999"/>
              <a:gd name="connsiteX47" fmla="*/ 3325539 w 5235878"/>
              <a:gd name="connsiteY47" fmla="*/ 5354452 h 6857999"/>
              <a:gd name="connsiteX48" fmla="*/ 2957377 w 5235878"/>
              <a:gd name="connsiteY48" fmla="*/ 5570780 h 6857999"/>
              <a:gd name="connsiteX49" fmla="*/ 2957377 w 5235878"/>
              <a:gd name="connsiteY49" fmla="*/ 6852624 h 6857999"/>
              <a:gd name="connsiteX50" fmla="*/ 2957377 w 5235878"/>
              <a:gd name="connsiteY50" fmla="*/ 6857998 h 6857999"/>
              <a:gd name="connsiteX51" fmla="*/ 2960065 w 5235878"/>
              <a:gd name="connsiteY51" fmla="*/ 6857998 h 6857999"/>
              <a:gd name="connsiteX52" fmla="*/ 5235878 w 5235878"/>
              <a:gd name="connsiteY52" fmla="*/ 6857998 h 6857999"/>
              <a:gd name="connsiteX53" fmla="*/ 5235878 w 5235878"/>
              <a:gd name="connsiteY53" fmla="*/ 6857999 h 6857999"/>
              <a:gd name="connsiteX54" fmla="*/ 0 w 5235878"/>
              <a:gd name="connsiteY54" fmla="*/ 6857999 h 6857999"/>
              <a:gd name="connsiteX55" fmla="*/ 0 w 5235878"/>
              <a:gd name="connsiteY55" fmla="*/ 6857998 h 6857999"/>
              <a:gd name="connsiteX56" fmla="*/ 368162 w 5235878"/>
              <a:gd name="connsiteY56" fmla="*/ 6857998 h 6857999"/>
              <a:gd name="connsiteX57" fmla="*/ 368162 w 5235878"/>
              <a:gd name="connsiteY57" fmla="*/ 5787108 h 6857999"/>
              <a:gd name="connsiteX58" fmla="*/ 736323 w 5235878"/>
              <a:gd name="connsiteY58" fmla="*/ 5574811 h 6857999"/>
              <a:gd name="connsiteX59" fmla="*/ 736323 w 5235878"/>
              <a:gd name="connsiteY59" fmla="*/ 3431686 h 6857999"/>
              <a:gd name="connsiteX60" fmla="*/ 368162 w 5235878"/>
              <a:gd name="connsiteY60" fmla="*/ 3212670 h 6857999"/>
              <a:gd name="connsiteX61" fmla="*/ 368162 w 5235878"/>
              <a:gd name="connsiteY61" fmla="*/ 2358109 h 6857999"/>
              <a:gd name="connsiteX62" fmla="*/ 739009 w 5235878"/>
              <a:gd name="connsiteY62" fmla="*/ 2145813 h 6857999"/>
              <a:gd name="connsiteX63" fmla="*/ 739009 w 5235878"/>
              <a:gd name="connsiteY63" fmla="*/ 1713156 h 6857999"/>
              <a:gd name="connsiteX64" fmla="*/ 368162 w 5235878"/>
              <a:gd name="connsiteY64" fmla="*/ 1499515 h 6857999"/>
              <a:gd name="connsiteX65" fmla="*/ 370849 w 5235878"/>
              <a:gd name="connsiteY65" fmla="*/ 1068203 h 6857999"/>
              <a:gd name="connsiteX66" fmla="*/ 0 w 5235878"/>
              <a:gd name="connsiteY66" fmla="*/ 854562 h 6857999"/>
              <a:gd name="connsiteX67" fmla="*/ 0 w 5235878"/>
              <a:gd name="connsiteY67" fmla="*/ 428624 h 6857999"/>
              <a:gd name="connsiteX68" fmla="*/ 370849 w 5235878"/>
              <a:gd name="connsiteY68" fmla="*/ 216327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235878" h="6857999">
                <a:moveTo>
                  <a:pt x="750460" y="6019914"/>
                </a:moveTo>
                <a:lnTo>
                  <a:pt x="750460" y="6412896"/>
                </a:lnTo>
                <a:lnTo>
                  <a:pt x="1087656" y="6215785"/>
                </a:lnTo>
                <a:close/>
                <a:moveTo>
                  <a:pt x="4065891" y="5358483"/>
                </a:moveTo>
                <a:lnTo>
                  <a:pt x="4065891" y="5784421"/>
                </a:lnTo>
                <a:lnTo>
                  <a:pt x="3700419" y="5570780"/>
                </a:lnTo>
                <a:close/>
                <a:moveTo>
                  <a:pt x="2573632" y="4532742"/>
                </a:moveTo>
                <a:lnTo>
                  <a:pt x="2233956" y="4726134"/>
                </a:lnTo>
                <a:lnTo>
                  <a:pt x="2233956" y="5116636"/>
                </a:lnTo>
                <a:lnTo>
                  <a:pt x="2573632" y="5316226"/>
                </a:lnTo>
                <a:lnTo>
                  <a:pt x="2573632" y="4925724"/>
                </a:lnTo>
                <a:close/>
                <a:moveTo>
                  <a:pt x="4436740" y="3431686"/>
                </a:moveTo>
                <a:lnTo>
                  <a:pt x="4802213" y="3645327"/>
                </a:lnTo>
                <a:lnTo>
                  <a:pt x="4436740" y="3857624"/>
                </a:lnTo>
                <a:lnTo>
                  <a:pt x="4068579" y="3645327"/>
                </a:lnTo>
                <a:close/>
                <a:moveTo>
                  <a:pt x="3346500" y="2809931"/>
                </a:moveTo>
                <a:lnTo>
                  <a:pt x="3346500" y="3202913"/>
                </a:lnTo>
                <a:lnTo>
                  <a:pt x="3686176" y="3007041"/>
                </a:lnTo>
                <a:close/>
                <a:moveTo>
                  <a:pt x="1465119" y="1729739"/>
                </a:moveTo>
                <a:lnTo>
                  <a:pt x="1125444" y="1925609"/>
                </a:lnTo>
                <a:lnTo>
                  <a:pt x="1465119" y="2125199"/>
                </a:lnTo>
                <a:close/>
                <a:moveTo>
                  <a:pt x="1125444" y="1087369"/>
                </a:moveTo>
                <a:lnTo>
                  <a:pt x="1125444" y="1480351"/>
                </a:lnTo>
                <a:lnTo>
                  <a:pt x="1465120" y="1284480"/>
                </a:lnTo>
                <a:close/>
                <a:moveTo>
                  <a:pt x="3703106" y="891654"/>
                </a:moveTo>
                <a:lnTo>
                  <a:pt x="3365910" y="1090004"/>
                </a:lnTo>
                <a:lnTo>
                  <a:pt x="3365910" y="1482986"/>
                </a:lnTo>
                <a:lnTo>
                  <a:pt x="3703106" y="1680096"/>
                </a:lnTo>
                <a:lnTo>
                  <a:pt x="4040302" y="1482986"/>
                </a:lnTo>
                <a:lnTo>
                  <a:pt x="3703106" y="1287115"/>
                </a:lnTo>
                <a:close/>
                <a:moveTo>
                  <a:pt x="736322" y="445102"/>
                </a:moveTo>
                <a:lnTo>
                  <a:pt x="399126" y="642213"/>
                </a:lnTo>
                <a:lnTo>
                  <a:pt x="736322" y="838084"/>
                </a:lnTo>
                <a:lnTo>
                  <a:pt x="1073518" y="642213"/>
                </a:lnTo>
                <a:close/>
                <a:moveTo>
                  <a:pt x="4434052" y="428625"/>
                </a:moveTo>
                <a:lnTo>
                  <a:pt x="4434052" y="858594"/>
                </a:lnTo>
                <a:lnTo>
                  <a:pt x="4068580" y="642266"/>
                </a:lnTo>
                <a:close/>
                <a:moveTo>
                  <a:pt x="370849" y="0"/>
                </a:moveTo>
                <a:lnTo>
                  <a:pt x="3321508" y="0"/>
                </a:lnTo>
                <a:lnTo>
                  <a:pt x="3321508" y="216327"/>
                </a:lnTo>
                <a:lnTo>
                  <a:pt x="3696387" y="428624"/>
                </a:lnTo>
                <a:lnTo>
                  <a:pt x="3696387" y="854562"/>
                </a:lnTo>
                <a:lnTo>
                  <a:pt x="4065891" y="1073577"/>
                </a:lnTo>
                <a:lnTo>
                  <a:pt x="4065891" y="3642639"/>
                </a:lnTo>
                <a:lnTo>
                  <a:pt x="3693700" y="3857623"/>
                </a:lnTo>
                <a:lnTo>
                  <a:pt x="3693700" y="4283561"/>
                </a:lnTo>
                <a:lnTo>
                  <a:pt x="3325539" y="4499889"/>
                </a:lnTo>
                <a:lnTo>
                  <a:pt x="3325539" y="5354452"/>
                </a:lnTo>
                <a:lnTo>
                  <a:pt x="2957377" y="5570780"/>
                </a:lnTo>
                <a:lnTo>
                  <a:pt x="2957377" y="6852624"/>
                </a:lnTo>
                <a:lnTo>
                  <a:pt x="2957377" y="6857998"/>
                </a:lnTo>
                <a:lnTo>
                  <a:pt x="2960065" y="6857998"/>
                </a:lnTo>
                <a:lnTo>
                  <a:pt x="5235878" y="6857998"/>
                </a:lnTo>
                <a:lnTo>
                  <a:pt x="5235878" y="6857999"/>
                </a:lnTo>
                <a:lnTo>
                  <a:pt x="0" y="6857999"/>
                </a:lnTo>
                <a:lnTo>
                  <a:pt x="0" y="6857998"/>
                </a:lnTo>
                <a:lnTo>
                  <a:pt x="368162" y="6857998"/>
                </a:lnTo>
                <a:lnTo>
                  <a:pt x="368162" y="5787108"/>
                </a:lnTo>
                <a:lnTo>
                  <a:pt x="736323" y="5574811"/>
                </a:lnTo>
                <a:lnTo>
                  <a:pt x="736323" y="3431686"/>
                </a:lnTo>
                <a:lnTo>
                  <a:pt x="368162" y="3212670"/>
                </a:lnTo>
                <a:lnTo>
                  <a:pt x="368162" y="2358109"/>
                </a:lnTo>
                <a:lnTo>
                  <a:pt x="739009" y="2145813"/>
                </a:lnTo>
                <a:lnTo>
                  <a:pt x="739009" y="1713156"/>
                </a:lnTo>
                <a:lnTo>
                  <a:pt x="368162" y="1499515"/>
                </a:lnTo>
                <a:lnTo>
                  <a:pt x="370849" y="1068203"/>
                </a:lnTo>
                <a:lnTo>
                  <a:pt x="0" y="854562"/>
                </a:lnTo>
                <a:lnTo>
                  <a:pt x="0" y="428624"/>
                </a:lnTo>
                <a:lnTo>
                  <a:pt x="370849" y="216327"/>
                </a:lnTo>
                <a:close/>
              </a:path>
            </a:pathLst>
          </a:custGeom>
        </p:spPr>
        <p:txBody>
          <a:bodyPr wrap="square">
            <a:noAutofit/>
          </a:bodyPr>
          <a:lstStyle>
            <a:lvl1pPr marL="0" indent="0">
              <a:buNone/>
              <a:defRPr sz="120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to add picture</a:t>
            </a:r>
            <a:endParaRPr lang="ar-SA"/>
          </a:p>
        </p:txBody>
      </p:sp>
      <p:sp>
        <p:nvSpPr>
          <p:cNvPr id="18" name="Title 1">
            <a:extLst>
              <a:ext uri="{FF2B5EF4-FFF2-40B4-BE49-F238E27FC236}">
                <a16:creationId xmlns:a16="http://schemas.microsoft.com/office/drawing/2014/main" id="{31BBA778-64E4-9C4C-8806-1A8C377A972B}"/>
              </a:ext>
            </a:extLst>
          </p:cNvPr>
          <p:cNvSpPr>
            <a:spLocks noGrp="1"/>
          </p:cNvSpPr>
          <p:nvPr>
            <p:ph type="title" hasCustomPrompt="1"/>
          </p:nvPr>
        </p:nvSpPr>
        <p:spPr>
          <a:xfrm>
            <a:off x="6497354" y="1496859"/>
            <a:ext cx="3796431" cy="2674307"/>
          </a:xfrm>
        </p:spPr>
        <p:txBody>
          <a:bodyPr lIns="0" tIns="0" rIns="0" bIns="0" anchor="b">
            <a:noAutofit/>
          </a:bodyPr>
          <a:lstStyle>
            <a:lvl1pPr>
              <a:defRPr sz="2800" b="0">
                <a:latin typeface="Arial" panose="020B0604020202020204" pitchFamily="34" charset="0"/>
                <a:ea typeface="+mj-ea"/>
                <a:cs typeface="Arial" panose="020B0604020202020204" pitchFamily="34" charset="0"/>
                <a:sym typeface="Arial" panose="020B0604020202020204" pitchFamily="34" charset="0"/>
              </a:defRPr>
            </a:lvl1pPr>
          </a:lstStyle>
          <a:p>
            <a:r>
              <a:rPr lang="en-US"/>
              <a:t>Divider title goes here</a:t>
            </a:r>
            <a:endParaRPr lang="ar-SA"/>
          </a:p>
        </p:txBody>
      </p:sp>
      <p:sp>
        <p:nvSpPr>
          <p:cNvPr id="20" name="Text Placeholder 2">
            <a:extLst>
              <a:ext uri="{FF2B5EF4-FFF2-40B4-BE49-F238E27FC236}">
                <a16:creationId xmlns:a16="http://schemas.microsoft.com/office/drawing/2014/main" id="{F91C9796-CB07-194B-B62D-8AC12B657E13}"/>
              </a:ext>
            </a:extLst>
          </p:cNvPr>
          <p:cNvSpPr>
            <a:spLocks noGrp="1"/>
          </p:cNvSpPr>
          <p:nvPr>
            <p:ph type="body" idx="1" hasCustomPrompt="1"/>
          </p:nvPr>
        </p:nvSpPr>
        <p:spPr>
          <a:xfrm>
            <a:off x="6497354" y="4280981"/>
            <a:ext cx="1679013" cy="1688273"/>
          </a:xfrm>
        </p:spPr>
        <p:txBody>
          <a:bodyPr lIns="0" tIns="0" rIns="0" bIns="0">
            <a:noAutofit/>
          </a:bodyPr>
          <a:lstStyle>
            <a:lvl1pPr marL="0" indent="0">
              <a:buNone/>
              <a:defRPr sz="12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
        <p:nvSpPr>
          <p:cNvPr id="22" name="Text Placeholder 2">
            <a:extLst>
              <a:ext uri="{FF2B5EF4-FFF2-40B4-BE49-F238E27FC236}">
                <a16:creationId xmlns:a16="http://schemas.microsoft.com/office/drawing/2014/main" id="{7940D795-3B71-D04C-A435-56E00A183FAE}"/>
              </a:ext>
            </a:extLst>
          </p:cNvPr>
          <p:cNvSpPr>
            <a:spLocks noGrp="1"/>
          </p:cNvSpPr>
          <p:nvPr>
            <p:ph type="body" idx="11" hasCustomPrompt="1"/>
          </p:nvPr>
        </p:nvSpPr>
        <p:spPr>
          <a:xfrm>
            <a:off x="8614772" y="4280981"/>
            <a:ext cx="1679013" cy="1688273"/>
          </a:xfrm>
        </p:spPr>
        <p:txBody>
          <a:bodyPr lIns="0" tIns="0" rIns="0" bIns="0">
            <a:noAutofit/>
          </a:bodyPr>
          <a:lstStyle>
            <a:lvl1pPr marL="0" indent="0">
              <a:buNone/>
              <a:defRPr sz="12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Tree>
    <p:extLst>
      <p:ext uri="{BB962C8B-B14F-4D97-AF65-F5344CB8AC3E}">
        <p14:creationId xmlns:p14="http://schemas.microsoft.com/office/powerpoint/2010/main" val="3750417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1749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00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09A520-7CEC-426E-B2CA-4F5F2C211A2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bwMode="blackWhite">
          <a:xfrm>
            <a:off x="695325" y="3826800"/>
            <a:ext cx="10764836" cy="2041200"/>
          </a:xfrm>
        </p:spPr>
        <p:txBody>
          <a:bodyPr anchor="t">
            <a:noAutofit/>
          </a:bodyPr>
          <a:lstStyle>
            <a:lvl1pPr>
              <a:defRPr sz="5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95325" y="3680016"/>
            <a:ext cx="1149326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70A1375A-DCBE-477B-889E-0977C65F1BB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65497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2556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2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12507-129C-4183-8806-06ACE8BDAEC3}"/>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rgbClr val="273370">
                  <a:lumMod val="100000"/>
                </a:srgbClr>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9" name="Footer Placeholder 4">
            <a:extLst>
              <a:ext uri="{FF2B5EF4-FFF2-40B4-BE49-F238E27FC236}">
                <a16:creationId xmlns:a16="http://schemas.microsoft.com/office/drawing/2014/main" id="{32062484-948A-4BC3-865B-7BEABC001836}"/>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337802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29209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52"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7BAC85-A7A7-4960-97E0-1917DD42A2F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3"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66" name="Group 65"/>
          <p:cNvGrpSpPr/>
          <p:nvPr userDrawn="1"/>
        </p:nvGrpSpPr>
        <p:grpSpPr>
          <a:xfrm>
            <a:off x="397420" y="550751"/>
            <a:ext cx="462459" cy="576905"/>
            <a:chOff x="324330" y="590555"/>
            <a:chExt cx="608641" cy="759263"/>
          </a:xfrm>
        </p:grpSpPr>
        <p:sp>
          <p:nvSpPr>
            <p:cNvPr id="67" name="Parallelogram 66"/>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8" name="Rectangle 67"/>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11" name="Footer Placeholder 4">
            <a:extLst>
              <a:ext uri="{FF2B5EF4-FFF2-40B4-BE49-F238E27FC236}">
                <a16:creationId xmlns:a16="http://schemas.microsoft.com/office/drawing/2014/main" id="{E4445429-B723-42A9-B1C4-5E530DDA9A3B}"/>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
        <p:nvSpPr>
          <p:cNvPr id="15" name="Text Placeholder 3">
            <a:extLst>
              <a:ext uri="{FF2B5EF4-FFF2-40B4-BE49-F238E27FC236}">
                <a16:creationId xmlns:a16="http://schemas.microsoft.com/office/drawing/2014/main" id="{8E7414D5-490B-4BB7-8FC7-26F1A91E306B}"/>
              </a:ext>
            </a:extLst>
          </p:cNvPr>
          <p:cNvSpPr>
            <a:spLocks noGrp="1"/>
          </p:cNvSpPr>
          <p:nvPr>
            <p:ph idx="1" hasCustomPrompt="1"/>
          </p:nvPr>
        </p:nvSpPr>
        <p:spPr>
          <a:xfrm>
            <a:off x="695325" y="1959430"/>
            <a:ext cx="10764836" cy="3978184"/>
          </a:xfrm>
          <a:prstGeom prst="rect">
            <a:avLst/>
          </a:prstGeom>
        </p:spPr>
        <p:txBody>
          <a:bodyPr vert="horz" lIns="0" tIns="0" rIns="0" bIns="0" rtlCol="0">
            <a:noAutofit/>
          </a:bodyPr>
          <a:lstStyle>
            <a:lvl1pPr>
              <a:defRPr sz="1400">
                <a:latin typeface="Arial" panose="020B0604020202020204" pitchFamily="34" charset="0"/>
                <a:ea typeface="+mn-ea"/>
                <a:cs typeface="Arial" panose="020B0604020202020204" pitchFamily="34" charset="0"/>
                <a:sym typeface="Arial" panose="020B0604020202020204" pitchFamily="34" charset="0"/>
              </a:defRPr>
            </a:lvl1pPr>
            <a:lvl2pPr>
              <a:defRPr sz="1400">
                <a:latin typeface="+mn-lt"/>
                <a:ea typeface="+mn-ea"/>
                <a:cs typeface="+mn-cs"/>
                <a:sym typeface="+mn-lt"/>
              </a:defRPr>
            </a:lvl2pPr>
            <a:lvl3pPr>
              <a:defRPr sz="1400">
                <a:latin typeface="+mn-lt"/>
                <a:ea typeface="+mn-ea"/>
                <a:cs typeface="+mn-cs"/>
                <a:sym typeface="+mn-lt"/>
              </a:defRPr>
            </a:lvl3pPr>
          </a:lstStyle>
          <a:p>
            <a:pPr lvl="0"/>
            <a:r>
              <a:rPr lang="en-US"/>
              <a:t>Edit Master text styles</a:t>
            </a:r>
          </a:p>
        </p:txBody>
      </p:sp>
    </p:spTree>
    <p:extLst>
      <p:ext uri="{BB962C8B-B14F-4D97-AF65-F5344CB8AC3E}">
        <p14:creationId xmlns:p14="http://schemas.microsoft.com/office/powerpoint/2010/main" val="4083332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62759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3058E2-654C-4943-A842-B045826FB62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p:cNvSpPr>
            <a:spLocks noGrp="1"/>
          </p:cNvSpPr>
          <p:nvPr>
            <p:ph type="title" hasCustomPrompt="1"/>
          </p:nvPr>
        </p:nvSpPr>
        <p:spPr bwMode="ltGray">
          <a:xfrm>
            <a:off x="695325" y="1544274"/>
            <a:ext cx="3452400" cy="1495794"/>
          </a:xfrm>
          <a:noFill/>
        </p:spPr>
        <p:txBody>
          <a:bodyPr wrap="square" lIns="0" tIns="0" rIns="320040" bIns="0" anchor="b">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433431CA-EF7D-4BD3-9189-190FAA23A614}"/>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051417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73074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10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9"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796A6AAC-4F51-45EA-8027-FBF6CD717D38}"/>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868454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EFFB2A1-91F1-4E25-979E-A2E04890AA1E}"/>
              </a:ext>
            </a:extLst>
          </p:cNvPr>
          <p:cNvPicPr>
            <a:picLocks noChangeAspect="1"/>
          </p:cNvPicPr>
          <p:nvPr userDrawn="1"/>
        </p:nvPicPr>
        <p:blipFill rotWithShape="1">
          <a:blip r:embed="rId4">
            <a:duotone>
              <a:prstClr val="black"/>
              <a:srgbClr val="BEBEBE">
                <a:tint val="45000"/>
                <a:satMod val="400000"/>
              </a:srgbClr>
            </a:duotone>
          </a:blip>
          <a:srcRect l="5423"/>
          <a:stretch/>
        </p:blipFill>
        <p:spPr>
          <a:xfrm>
            <a:off x="0" y="0"/>
            <a:ext cx="12192000" cy="6858000"/>
          </a:xfrm>
          <a:prstGeom prst="rect">
            <a:avLst/>
          </a:prstGeom>
        </p:spPr>
      </p:pic>
      <p:sp>
        <p:nvSpPr>
          <p:cNvPr id="8" name="Rectangle 7">
            <a:extLst>
              <a:ext uri="{FF2B5EF4-FFF2-40B4-BE49-F238E27FC236}">
                <a16:creationId xmlns:a16="http://schemas.microsoft.com/office/drawing/2014/main" id="{5F9A0C22-E711-4648-9FCB-E45E8E434E41}"/>
              </a:ext>
            </a:extLst>
          </p:cNvPr>
          <p:cNvSpPr/>
          <p:nvPr userDrawn="1"/>
        </p:nvSpPr>
        <p:spPr>
          <a:xfrm>
            <a:off x="3048" y="0"/>
            <a:ext cx="12188952" cy="6858000"/>
          </a:xfrm>
          <a:prstGeom prst="rect">
            <a:avLst/>
          </a:prstGeom>
          <a:solidFill>
            <a:schemeClr val="accent3">
              <a:alpha val="74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2551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12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9" name="Date Placeholder 2"/>
          <p:cNvSpPr>
            <a:spLocks noGrp="1"/>
          </p:cNvSpPr>
          <p:nvPr>
            <p:ph type="dt" sz="half" idx="10"/>
          </p:nvPr>
        </p:nvSpPr>
        <p:spPr>
          <a:xfrm>
            <a:off x="9677400" y="6461970"/>
            <a:ext cx="1482051" cy="153888"/>
          </a:xfrm>
          <a:prstGeom prst="rect">
            <a:avLst/>
          </a:prstGeom>
        </p:spPr>
        <p:txBody>
          <a:bodyPr/>
          <a:lstStyle>
            <a:lvl1pPr>
              <a:defRPr>
                <a:solidFill>
                  <a:srgbClr val="8C8C8C"/>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36D6F29D-DE9D-4743-AF90-DCEDCC3B9E5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936949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31868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4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115942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19982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72"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CC736E-F5ED-4412-AFAD-BD08C41F041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2" name="TextBox 11"/>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A321573E-17E0-4ADD-9098-B126877D7CE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4067620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214646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4"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F937071-16F6-49D0-8637-D169075F0F0E}"/>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8"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7695733"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3"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67" name="Group 66"/>
          <p:cNvGrpSpPr/>
          <p:nvPr userDrawn="1"/>
        </p:nvGrpSpPr>
        <p:grpSpPr>
          <a:xfrm>
            <a:off x="397420" y="550751"/>
            <a:ext cx="462459" cy="576905"/>
            <a:chOff x="324330" y="590555"/>
            <a:chExt cx="608641" cy="759263"/>
          </a:xfrm>
        </p:grpSpPr>
        <p:sp>
          <p:nvSpPr>
            <p:cNvPr id="68" name="Parallelogram 67"/>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9" name="Rectangle 68"/>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13" name="Footer Placeholder 4">
            <a:extLst>
              <a:ext uri="{FF2B5EF4-FFF2-40B4-BE49-F238E27FC236}">
                <a16:creationId xmlns:a16="http://schemas.microsoft.com/office/drawing/2014/main" id="{0DBECB86-27DD-4597-AFC5-6FD277B0963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608073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366005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9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0368C4-D68E-47CF-9671-7D99823E7821}"/>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2"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5850949" cy="909637"/>
          </a:xfrm>
        </p:spPr>
        <p:txBody>
          <a:bodyPr lIns="0" tIns="0" rIns="0" bIns="0" anchor="t" anchorCtr="0">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9" name="TextBox 18"/>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71" name="Group 70"/>
          <p:cNvGrpSpPr/>
          <p:nvPr userDrawn="1"/>
        </p:nvGrpSpPr>
        <p:grpSpPr>
          <a:xfrm>
            <a:off x="293898" y="558343"/>
            <a:ext cx="669505" cy="835189"/>
            <a:chOff x="324330" y="584804"/>
            <a:chExt cx="608641" cy="759263"/>
          </a:xfrm>
        </p:grpSpPr>
        <p:sp>
          <p:nvSpPr>
            <p:cNvPr id="72" name="Parallelogram 71"/>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3" name="Rectangle 72"/>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4" name="Footer Placeholder 4">
            <a:extLst>
              <a:ext uri="{FF2B5EF4-FFF2-40B4-BE49-F238E27FC236}">
                <a16:creationId xmlns:a16="http://schemas.microsoft.com/office/drawing/2014/main" id="{C4E2DF32-7AC8-4113-99F9-20C3217346C5}"/>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398979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16784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22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646291E-DE10-4364-A565-9610F0EE1DAF}"/>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9" name="Picture 8"/>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0"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4267795" cy="909637"/>
          </a:xfrm>
        </p:spPr>
        <p:txBody>
          <a:bodyPr lIns="0" tIns="0" rIns="0" bIns="0" anchor="t" anchorCtr="0">
            <a:noAutofit/>
          </a:bodyPr>
          <a:lstStyle>
            <a:lvl1pPr rtl="0">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9"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78" name="Group 77"/>
          <p:cNvGrpSpPr/>
          <p:nvPr userDrawn="1"/>
        </p:nvGrpSpPr>
        <p:grpSpPr>
          <a:xfrm>
            <a:off x="293898" y="558343"/>
            <a:ext cx="669505" cy="835189"/>
            <a:chOff x="324330" y="584804"/>
            <a:chExt cx="608641" cy="759263"/>
          </a:xfrm>
        </p:grpSpPr>
        <p:sp>
          <p:nvSpPr>
            <p:cNvPr id="79" name="Parallelogram 78"/>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0" name="Rectangle 79"/>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766064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256970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44"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0DC9F28-E4E2-418E-B810-B9C9EBBE7113}"/>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7" name="Title 4"/>
          <p:cNvSpPr>
            <a:spLocks noGrp="1"/>
          </p:cNvSpPr>
          <p:nvPr>
            <p:ph type="title" hasCustomPrompt="1"/>
          </p:nvPr>
        </p:nvSpPr>
        <p:spPr>
          <a:xfrm>
            <a:off x="695325" y="2681103"/>
            <a:ext cx="3062556" cy="1495794"/>
          </a:xfrm>
          <a:prstGeom prst="rect">
            <a:avLst/>
          </a:prstGeom>
        </p:spPr>
        <p:txBody>
          <a:bodyPr anchor="ctr">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Tree>
    <p:extLst>
      <p:ext uri="{BB962C8B-B14F-4D97-AF65-F5344CB8AC3E}">
        <p14:creationId xmlns:p14="http://schemas.microsoft.com/office/powerpoint/2010/main" val="3405868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8386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6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697BA8-C793-46E3-A441-E6E8A66948B0}"/>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95325" y="2681103"/>
            <a:ext cx="3062556" cy="1495794"/>
          </a:xfrm>
          <a:prstGeom prst="rect">
            <a:avLst/>
          </a:prstGeom>
        </p:spPr>
        <p:txBody>
          <a:bodyPr anchor="ctr">
            <a:noAutofit/>
          </a:bodyPr>
          <a:lstStyle>
            <a:lvl1pPr>
              <a:defRPr sz="3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Rectangle 12"/>
          <p:cNvSpPr/>
          <p:nvPr userDrawn="1"/>
        </p:nvSpPr>
        <p:spPr bwMode="white">
          <a:xfrm>
            <a:off x="3343701" y="-1309"/>
            <a:ext cx="8848299"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1" name="TextBox 20"/>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2" name="Footer Placeholder 4">
            <a:extLst>
              <a:ext uri="{FF2B5EF4-FFF2-40B4-BE49-F238E27FC236}">
                <a16:creationId xmlns:a16="http://schemas.microsoft.com/office/drawing/2014/main" id="{15C6CB8B-AAF3-4F17-9B5A-2845E3D61F0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0717518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650541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9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743F5F-AA84-4D9A-87EA-C7897D7C6ABE}"/>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95325" y="1785600"/>
            <a:ext cx="4323075" cy="3286800"/>
          </a:xfrm>
          <a:prstGeom prst="rect">
            <a:avLst/>
          </a:prstGeom>
          <a:noFill/>
        </p:spPr>
        <p:txBody>
          <a:bodyPr wrap="square" lIns="0" tIns="0" rIns="320040" bIns="0"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5" name="Footer Placeholder 4">
            <a:extLst>
              <a:ext uri="{FF2B5EF4-FFF2-40B4-BE49-F238E27FC236}">
                <a16:creationId xmlns:a16="http://schemas.microsoft.com/office/drawing/2014/main" id="{33E26693-A5AA-4A1A-8AB7-E0F6CB510DFF}"/>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4053244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638881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4A771F-A12C-4B8A-8A55-AC1E3438DEA4}"/>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4" name="Title 1"/>
          <p:cNvSpPr>
            <a:spLocks noGrp="1"/>
          </p:cNvSpPr>
          <p:nvPr>
            <p:ph type="title" hasCustomPrompt="1"/>
          </p:nvPr>
        </p:nvSpPr>
        <p:spPr bwMode="blackWhite">
          <a:xfrm>
            <a:off x="695325" y="1804650"/>
            <a:ext cx="6182227" cy="3286800"/>
          </a:xfrm>
          <a:prstGeom prst="rect">
            <a:avLst/>
          </a:prstGeom>
        </p:spPr>
        <p:txBody>
          <a:bodyPr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title</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2" name="Footer Placeholder 4">
            <a:extLst>
              <a:ext uri="{FF2B5EF4-FFF2-40B4-BE49-F238E27FC236}">
                <a16:creationId xmlns:a16="http://schemas.microsoft.com/office/drawing/2014/main" id="{A3AC3489-A506-41EF-B0DD-559BD45F7A58}"/>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818722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147960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4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A0DB28-C9BC-4A51-B21F-A5F83D9D3E64}"/>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Title 4"/>
          <p:cNvSpPr>
            <a:spLocks noGrp="1"/>
          </p:cNvSpPr>
          <p:nvPr>
            <p:ph type="title" hasCustomPrompt="1"/>
          </p:nvPr>
        </p:nvSpPr>
        <p:spPr>
          <a:xfrm>
            <a:off x="695325" y="2681103"/>
            <a:ext cx="3127881" cy="1495794"/>
          </a:xfrm>
          <a:prstGeom prst="rect">
            <a:avLst/>
          </a:prstGeom>
        </p:spPr>
        <p:txBody>
          <a:bodyPr anchor="ctr">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1" name="Footer Placeholder 4">
            <a:extLst>
              <a:ext uri="{FF2B5EF4-FFF2-40B4-BE49-F238E27FC236}">
                <a16:creationId xmlns:a16="http://schemas.microsoft.com/office/drawing/2014/main" id="{57079B08-A88D-408E-A4FB-63466C5C3EF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289657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610882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64"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F16EF6E-2943-4A67-952E-1123FA7CB4D7}"/>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6"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5870679"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23" name="TextBox 2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67" name="Group 66"/>
          <p:cNvGrpSpPr/>
          <p:nvPr userDrawn="1"/>
        </p:nvGrpSpPr>
        <p:grpSpPr>
          <a:xfrm>
            <a:off x="397420" y="550751"/>
            <a:ext cx="462459" cy="576905"/>
            <a:chOff x="324330" y="590555"/>
            <a:chExt cx="608641" cy="759263"/>
          </a:xfrm>
        </p:grpSpPr>
        <p:sp>
          <p:nvSpPr>
            <p:cNvPr id="68" name="Parallelogram 67"/>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9" name="Rectangle 68"/>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13" name="Footer Placeholder 4">
            <a:extLst>
              <a:ext uri="{FF2B5EF4-FFF2-40B4-BE49-F238E27FC236}">
                <a16:creationId xmlns:a16="http://schemas.microsoft.com/office/drawing/2014/main" id="{B5561E72-799C-47D6-8F43-2823139F310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797476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292730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88"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F937071-16F6-49D0-8637-D169075F0F0E}"/>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8"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7695733"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3"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67" name="Group 66"/>
          <p:cNvGrpSpPr/>
          <p:nvPr userDrawn="1"/>
        </p:nvGrpSpPr>
        <p:grpSpPr>
          <a:xfrm>
            <a:off x="397420" y="550751"/>
            <a:ext cx="462459" cy="576905"/>
            <a:chOff x="324330" y="590555"/>
            <a:chExt cx="608641" cy="759263"/>
          </a:xfrm>
        </p:grpSpPr>
        <p:sp>
          <p:nvSpPr>
            <p:cNvPr id="68" name="Parallelogram 67"/>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9" name="Rectangle 68"/>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13" name="Footer Placeholder 4">
            <a:extLst>
              <a:ext uri="{FF2B5EF4-FFF2-40B4-BE49-F238E27FC236}">
                <a16:creationId xmlns:a16="http://schemas.microsoft.com/office/drawing/2014/main" id="{0DBECB86-27DD-4597-AFC5-6FD277B0963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581970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4799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41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B0258A4-73B9-4C1E-A4CB-001C7774026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50000">
                <a:srgbClr val="FF6633"/>
              </a:gs>
              <a:gs pos="0">
                <a:srgbClr val="FDBD4D"/>
              </a:gs>
              <a:gs pos="100000">
                <a:srgbClr val="273370"/>
              </a:gs>
            </a:gsLst>
            <a:lin ang="8100000" scaled="0"/>
          </a:gra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695325" y="512763"/>
            <a:ext cx="6191475" cy="909637"/>
          </a:xfrm>
        </p:spPr>
        <p:txBody>
          <a:bodyPr lIns="0" tIns="0" rIns="0" bIns="0" anchor="t" anchorCtr="0">
            <a:noAutofit/>
          </a:bodyPr>
          <a:lstStyle>
            <a:lvl1pPr>
              <a:defRPr sz="3400">
                <a:solidFill>
                  <a:srgbClr val="FFFFFF"/>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28FD4921-A06A-4B9C-A2E5-6B875F7A0CE2}"/>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484637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16695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B0258A4-73B9-4C1E-A4CB-001C7774026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50000">
                <a:srgbClr val="FF6633"/>
              </a:gs>
              <a:gs pos="0">
                <a:srgbClr val="FDBD4D"/>
              </a:gs>
              <a:gs pos="100000">
                <a:srgbClr val="273370"/>
              </a:gs>
            </a:gsLst>
            <a:lin ang="8100000" scaled="0"/>
          </a:gra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695325" y="512763"/>
            <a:ext cx="6191475" cy="909637"/>
          </a:xfrm>
        </p:spPr>
        <p:txBody>
          <a:bodyPr lIns="0" tIns="0" rIns="0" bIns="0" anchor="t" anchorCtr="0">
            <a:noAutofit/>
          </a:bodyPr>
          <a:lstStyle>
            <a:lvl1pPr>
              <a:defRPr sz="3400">
                <a:solidFill>
                  <a:srgbClr val="FFFFFF"/>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28FD4921-A06A-4B9C-A2E5-6B875F7A0CE2}"/>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839422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49328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3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04C449-08C3-4D76-B123-D2CF2903CE5B}"/>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95325" y="1785600"/>
            <a:ext cx="4388400" cy="3286800"/>
          </a:xfrm>
          <a:prstGeom prst="rect">
            <a:avLst/>
          </a:prstGeom>
          <a:noFill/>
        </p:spPr>
        <p:txBody>
          <a:bodyPr wrap="square" lIns="0" tIns="0" rIns="320040" bIns="0"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4" name="Footer Placeholder 4">
            <a:extLst>
              <a:ext uri="{FF2B5EF4-FFF2-40B4-BE49-F238E27FC236}">
                <a16:creationId xmlns:a16="http://schemas.microsoft.com/office/drawing/2014/main" id="{0FC45F85-C8B5-4ACD-9DA5-8AE13108572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237536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81305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6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D4C3107-4412-41E1-813C-6AFC8D21638D}"/>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5" name="Title 1"/>
          <p:cNvSpPr>
            <a:spLocks noGrp="1"/>
          </p:cNvSpPr>
          <p:nvPr>
            <p:ph type="title" hasCustomPrompt="1"/>
          </p:nvPr>
        </p:nvSpPr>
        <p:spPr bwMode="black">
          <a:xfrm>
            <a:off x="695325" y="1785600"/>
            <a:ext cx="6247552" cy="3286800"/>
          </a:xfrm>
          <a:prstGeom prst="rect">
            <a:avLst/>
          </a:prstGeom>
        </p:spPr>
        <p:txBody>
          <a:bodyPr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3" name="Footer Placeholder 4">
            <a:extLst>
              <a:ext uri="{FF2B5EF4-FFF2-40B4-BE49-F238E27FC236}">
                <a16:creationId xmlns:a16="http://schemas.microsoft.com/office/drawing/2014/main" id="{1C2617A8-F868-4DAB-9699-EA6828B5BDE2}"/>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533144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237602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84" name="think-cell Slide" r:id="rId6" imgW="352" imgH="355" progId="TCLayout.ActiveDocument.1">
                  <p:embed/>
                </p:oleObj>
              </mc:Choice>
              <mc:Fallback>
                <p:oleObj name="think-cell Slide" r:id="rId6" imgW="352" imgH="355"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7753F9-F39C-4B13-917D-DD2415153001}"/>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8" name="Title 1"/>
          <p:cNvSpPr>
            <a:spLocks noGrp="1"/>
          </p:cNvSpPr>
          <p:nvPr>
            <p:ph type="title" hasCustomPrompt="1"/>
          </p:nvPr>
        </p:nvSpPr>
        <p:spPr>
          <a:xfrm>
            <a:off x="695325" y="3826333"/>
            <a:ext cx="10764836"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1" name="TextBox 10"/>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344F081F-DFD4-4E2E-9056-89696760EC05}"/>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917731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99241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50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EF0D14-F75B-4E98-A66F-85C6DA42089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6" name="Rectangle 5"/>
          <p:cNvSpPr/>
          <p:nvPr userDrawn="1"/>
        </p:nvSpPr>
        <p:spPr bwMode="white">
          <a:xfrm>
            <a:off x="695325"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rgbClr val="273370">
                  <a:lumMod val="100000"/>
                </a:srgbClr>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95325" y="3826333"/>
            <a:ext cx="10764836"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3"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DC5B5F85-037A-4505-9EC5-C5E020D4EFB7}"/>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853330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69495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TextBox 19"/>
          <p:cNvSpPr txBox="1"/>
          <p:nvPr userDrawn="1"/>
        </p:nvSpPr>
        <p:spPr>
          <a:xfrm>
            <a:off x="695325"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Arial" panose="020B0604020202020204" pitchFamily="34" charset="0"/>
                <a:ea typeface="+mn-ea"/>
                <a:cs typeface="Arial" panose="020B0604020202020204" pitchFamily="34" charset="0"/>
                <a:sym typeface="Arial" panose="020B0604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4824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224492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5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Isosceles Triangle 9"/>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DFDDE4B7-1CAB-C84F-90FD-9F68D636888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492125" y="1079647"/>
            <a:ext cx="7912966" cy="299929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11500" b="0" baseline="0" dirty="0">
                <a:latin typeface="Arial" panose="020B0604020202020204" pitchFamily="34" charset="0"/>
                <a:cs typeface="Arial" panose="020B0604020202020204" pitchFamily="34" charset="0"/>
                <a:sym typeface="Arial" panose="020B0604020202020204" pitchFamily="34" charset="0"/>
              </a:rPr>
              <a:t>Thank  you</a:t>
            </a:r>
            <a:endParaRPr lang="en-US" sz="115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15493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Rocket">
    <p:bg>
      <p:bgPr>
        <a:solidFill>
          <a:schemeClr val="bg1"/>
        </a:solidFill>
        <a:effectLst/>
      </p:bgPr>
    </p:bg>
    <p:spTree>
      <p:nvGrpSpPr>
        <p:cNvPr id="1" name=""/>
        <p:cNvGrpSpPr/>
        <p:nvPr/>
      </p:nvGrpSpPr>
      <p:grpSpPr>
        <a:xfrm>
          <a:off x="0" y="0"/>
          <a:ext cx="0" cy="0"/>
          <a:chOff x="0" y="0"/>
          <a:chExt cx="0" cy="0"/>
        </a:xfrm>
      </p:grpSpPr>
      <p:pic>
        <p:nvPicPr>
          <p:cNvPr id="12" name="Picture 2" descr="Related image">
            <a:extLst>
              <a:ext uri="{FF2B5EF4-FFF2-40B4-BE49-F238E27FC236}">
                <a16:creationId xmlns:a16="http://schemas.microsoft.com/office/drawing/2014/main" id="{2CA4B35C-9310-4F50-A6EE-59B08C2BB511}"/>
              </a:ext>
            </a:extLst>
          </p:cNvPr>
          <p:cNvPicPr>
            <a:picLocks noChangeAspect="1" noChangeArrowheads="1"/>
          </p:cNvPicPr>
          <p:nvPr userDrawn="1"/>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l="17312" b="1735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C473FD08-1A0E-43A7-9E7C-FD0A80421B85}"/>
              </a:ext>
            </a:extLst>
          </p:cNvPr>
          <p:cNvSpPr/>
          <p:nvPr userDrawn="1"/>
        </p:nvSpPr>
        <p:spPr>
          <a:xfrm>
            <a:off x="0" y="0"/>
            <a:ext cx="12192000" cy="6858000"/>
          </a:xfrm>
          <a:prstGeom prst="rect">
            <a:avLst/>
          </a:prstGeom>
          <a:solidFill>
            <a:schemeClr val="bg1">
              <a:alpha val="51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0353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80"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grpSp>
        <p:nvGrpSpPr>
          <p:cNvPr id="9" name="Group 8"/>
          <p:cNvGrpSpPr/>
          <p:nvPr userDrawn="1"/>
        </p:nvGrpSpPr>
        <p:grpSpPr>
          <a:xfrm>
            <a:off x="293898" y="558343"/>
            <a:ext cx="669505" cy="835189"/>
            <a:chOff x="324330" y="584804"/>
            <a:chExt cx="608641" cy="759263"/>
          </a:xfrm>
        </p:grpSpPr>
        <p:sp>
          <p:nvSpPr>
            <p:cNvPr id="10" name="Parallelogram 9"/>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Rectangle 10"/>
            <p:cNvSpPr/>
            <p:nvPr/>
          </p:nvSpPr>
          <p:spPr>
            <a:xfrm rot="8954161" flipH="1" flipV="1">
              <a:off x="324330" y="904674"/>
              <a:ext cx="608641" cy="112731"/>
            </a:xfrm>
            <a:prstGeom prst="rect">
              <a:avLst/>
            </a:prstGeom>
            <a:solidFill>
              <a:srgbClr val="E9E9E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agline</a:t>
            </a:r>
            <a:endParaRPr lang="ar-SA"/>
          </a:p>
        </p:txBody>
      </p:sp>
    </p:spTree>
    <p:extLst>
      <p:ext uri="{BB962C8B-B14F-4D97-AF65-F5344CB8AC3E}">
        <p14:creationId xmlns:p14="http://schemas.microsoft.com/office/powerpoint/2010/main" val="1631931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6006" y="1333501"/>
            <a:ext cx="11134586" cy="4741863"/>
          </a:xfrm>
          <a:prstGeom prst="rect">
            <a:avLst/>
          </a:prstGeom>
        </p:spPr>
        <p:txBody>
          <a:bodyPr/>
          <a:lstStyle>
            <a:lvl1pPr marL="231752" indent="-231752" algn="l" defTabSz="914309" rtl="0" eaLnBrk="1" latinLnBrk="0" hangingPunct="1">
              <a:lnSpc>
                <a:spcPct val="120000"/>
              </a:lnSpc>
              <a:spcBef>
                <a:spcPts val="1000"/>
              </a:spcBef>
              <a:buClr>
                <a:schemeClr val="accent4"/>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solidFill>
                  <a:sysClr val="windowText" lastClr="000000"/>
                </a:solidFill>
              </a:rPr>
              <a:t>Level 1</a:t>
            </a:r>
            <a:endParaRPr lang="en-US"/>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a:t>Fifth level</a:t>
            </a:r>
          </a:p>
        </p:txBody>
      </p:sp>
    </p:spTree>
    <p:extLst>
      <p:ext uri="{BB962C8B-B14F-4D97-AF65-F5344CB8AC3E}">
        <p14:creationId xmlns:p14="http://schemas.microsoft.com/office/powerpoint/2010/main" val="319597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62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83819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5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DIN Next LT Arabic Light" panose="020B0303020203050203" pitchFamily="34" charset="-78"/>
                <a:ea typeface="+mn-ea"/>
                <a:cs typeface="DIN Next LT Arabic Light" panose="020B0303020203050203" pitchFamily="34" charset="-78"/>
              </a:rPr>
              <a:t>NCAI | Talent Development</a:t>
            </a:r>
          </a:p>
        </p:txBody>
      </p:sp>
    </p:spTree>
    <p:extLst>
      <p:ext uri="{BB962C8B-B14F-4D97-AF65-F5344CB8AC3E}">
        <p14:creationId xmlns:p14="http://schemas.microsoft.com/office/powerpoint/2010/main" val="3697740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49795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04C449-08C3-4D76-B123-D2CF2903CE5B}"/>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95325" y="1785600"/>
            <a:ext cx="4388400" cy="3286800"/>
          </a:xfrm>
          <a:prstGeom prst="rect">
            <a:avLst/>
          </a:prstGeom>
          <a:noFill/>
        </p:spPr>
        <p:txBody>
          <a:bodyPr wrap="square" lIns="0" tIns="0" rIns="320040" bIns="0"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4" name="Footer Placeholder 4">
            <a:extLst>
              <a:ext uri="{FF2B5EF4-FFF2-40B4-BE49-F238E27FC236}">
                <a16:creationId xmlns:a16="http://schemas.microsoft.com/office/drawing/2014/main" id="{0FC45F85-C8B5-4ACD-9DA5-8AE13108572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495543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7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DIN Next LT Arabic Light" panose="020B0303020203050203" pitchFamily="34" charset="-78"/>
              <a:ea typeface="+mn-ea"/>
              <a:cs typeface="+mn-cs"/>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mj-lt"/>
              </a:rPr>
              <a:t>Thank you</a:t>
            </a:r>
          </a:p>
        </p:txBody>
      </p:sp>
    </p:spTree>
    <p:extLst>
      <p:ext uri="{BB962C8B-B14F-4D97-AF65-F5344CB8AC3E}">
        <p14:creationId xmlns:p14="http://schemas.microsoft.com/office/powerpoint/2010/main" val="2570569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70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userDrawn="1">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userDrawn="1">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68D2E"/>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68D2E"/>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userDrawn="1">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DIN Next LT Arabic Light" panose="020B0303020203050203" pitchFamily="34" charset="-78"/>
                <a:ea typeface="+mn-ea"/>
                <a:cs typeface="DIN Next LT Arabic Light" panose="020B0303020203050203" pitchFamily="34" charset="-78"/>
              </a:rPr>
              <a:t>NCAI | Talent Development</a:t>
            </a:r>
          </a:p>
        </p:txBody>
      </p:sp>
    </p:spTree>
    <p:extLst>
      <p:ext uri="{BB962C8B-B14F-4D97-AF65-F5344CB8AC3E}">
        <p14:creationId xmlns:p14="http://schemas.microsoft.com/office/powerpoint/2010/main" val="497359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72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DIN Next LT Arabic" panose="020B0503020203050203" pitchFamily="34" charset="-78"/>
                <a:ea typeface="+mn-ea"/>
                <a:cs typeface="DIN Next LT Arabic" panose="020B0503020203050203" pitchFamily="34" charset="-78"/>
              </a:rPr>
              <a:t>NCAI | Activation Programme</a:t>
            </a:r>
          </a:p>
        </p:txBody>
      </p:sp>
    </p:spTree>
    <p:extLst>
      <p:ext uri="{BB962C8B-B14F-4D97-AF65-F5344CB8AC3E}">
        <p14:creationId xmlns:p14="http://schemas.microsoft.com/office/powerpoint/2010/main" val="3947883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userDrawn="1"/>
        </p:nvPicPr>
        <p:blipFill>
          <a:blip r:embed="rId5">
            <a:alphaModFix amt="20000"/>
            <a:extLst>
              <a:ext uri="{28A0092B-C50C-407E-A947-70E740481C1C}">
                <a14:useLocalDpi xmlns:a14="http://schemas.microsoft.com/office/drawing/2010/main"/>
              </a:ext>
            </a:extLst>
          </a:blip>
          <a:stretch>
            <a:fillRect/>
          </a:stretch>
        </p:blipFill>
        <p:spPr>
          <a:xfrm>
            <a:off x="0" y="0"/>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48"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DIN Next LT Arabic" panose="020B0503020203050203" pitchFamily="34" charset="-78"/>
              <a:ea typeface="+mn-ea"/>
              <a:cs typeface="DIN Next LT Arabic Light" panose="020B0303020203050203" pitchFamily="34" charset="-78"/>
              <a:sym typeface="Arial" panose="020B0604020202020204" pitchFamily="34" charset="0"/>
            </a:endParaRPr>
          </a:p>
        </p:txBody>
      </p:sp>
      <p:sp>
        <p:nvSpPr>
          <p:cNvPr id="9" name="TextBox 8">
            <a:extLst>
              <a:ext uri="{FF2B5EF4-FFF2-40B4-BE49-F238E27FC236}">
                <a16:creationId xmlns:a16="http://schemas.microsoft.com/office/drawing/2014/main" id="{23E70978-148F-482F-B755-B0B90E0D5FA7}"/>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DIN Next LT Arabic" panose="020B0503020203050203" pitchFamily="34" charset="-78"/>
                <a:ea typeface="+mn-ea"/>
                <a:cs typeface="DIN Next LT Arabic" panose="020B0503020203050203" pitchFamily="34" charset="-78"/>
              </a:rPr>
              <a:t>NCAI | Activation Program</a:t>
            </a:r>
          </a:p>
        </p:txBody>
      </p:sp>
    </p:spTree>
    <p:extLst>
      <p:ext uri="{BB962C8B-B14F-4D97-AF65-F5344CB8AC3E}">
        <p14:creationId xmlns:p14="http://schemas.microsoft.com/office/powerpoint/2010/main" val="1985433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9734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8" name="Picture 17">
            <a:extLst>
              <a:ext uri="{FF2B5EF4-FFF2-40B4-BE49-F238E27FC236}">
                <a16:creationId xmlns:a16="http://schemas.microsoft.com/office/drawing/2014/main" id="{DFDDE4B7-1CAB-C84F-90FD-9F68D636888D}"/>
              </a:ext>
            </a:extLst>
          </p:cNvPr>
          <p:cNvPicPr>
            <a:picLocks noChangeAspect="1"/>
          </p:cNvPicPr>
          <p:nvPr userDrawn="1"/>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9338" y="538582"/>
            <a:ext cx="2207259" cy="825698"/>
          </a:xfrm>
          <a:prstGeom prst="rect">
            <a:avLst/>
          </a:prstGeom>
        </p:spPr>
      </p:pic>
      <p:sp>
        <p:nvSpPr>
          <p:cNvPr id="16" name="Title 1">
            <a:extLst>
              <a:ext uri="{FF2B5EF4-FFF2-40B4-BE49-F238E27FC236}">
                <a16:creationId xmlns:a16="http://schemas.microsoft.com/office/drawing/2014/main" id="{118B6C8E-8090-4E6B-AB72-A7933543EF90}"/>
              </a:ext>
            </a:extLst>
          </p:cNvPr>
          <p:cNvSpPr>
            <a:spLocks noGrp="1"/>
          </p:cNvSpPr>
          <p:nvPr>
            <p:ph type="ctrTitle" hasCustomPrompt="1"/>
          </p:nvPr>
        </p:nvSpPr>
        <p:spPr>
          <a:xfrm>
            <a:off x="695325" y="1715590"/>
            <a:ext cx="5400675" cy="1994624"/>
          </a:xfrm>
        </p:spPr>
        <p:txBody>
          <a:bodyPr lIns="0" tIns="0" rIns="0" bIns="0" anchor="b">
            <a:noAutofit/>
          </a:bodyPr>
          <a:lstStyle>
            <a:lvl1pPr algn="l">
              <a:defRPr sz="4400">
                <a:solidFill>
                  <a:schemeClr val="tx2"/>
                </a:solidFill>
                <a:latin typeface="+mj-lt"/>
                <a:ea typeface="+mj-ea"/>
                <a:cs typeface="+mj-cs"/>
                <a:sym typeface="+mj-lt"/>
              </a:defRPr>
            </a:lvl1pPr>
          </a:lstStyle>
          <a:p>
            <a:r>
              <a:rPr lang="en-US"/>
              <a:t>Presentation title goes here</a:t>
            </a:r>
            <a:endParaRPr lang="ar-SA"/>
          </a:p>
        </p:txBody>
      </p:sp>
      <p:sp>
        <p:nvSpPr>
          <p:cNvPr id="17" name="Subtitle 2">
            <a:extLst>
              <a:ext uri="{FF2B5EF4-FFF2-40B4-BE49-F238E27FC236}">
                <a16:creationId xmlns:a16="http://schemas.microsoft.com/office/drawing/2014/main" id="{4D5EE6E8-A3DF-421A-AFA2-A19B30A699D8}"/>
              </a:ext>
            </a:extLst>
          </p:cNvPr>
          <p:cNvSpPr>
            <a:spLocks noGrp="1"/>
          </p:cNvSpPr>
          <p:nvPr>
            <p:ph type="subTitle" idx="1" hasCustomPrompt="1"/>
          </p:nvPr>
        </p:nvSpPr>
        <p:spPr>
          <a:xfrm>
            <a:off x="695325" y="3878566"/>
            <a:ext cx="5400676" cy="863751"/>
          </a:xfrm>
        </p:spPr>
        <p:txBody>
          <a:bodyPr lIns="0" tIns="0" rIns="0" bIns="0">
            <a:noAutofit/>
          </a:bodyPr>
          <a:lstStyle>
            <a:lvl1pPr marL="0" indent="0" algn="l">
              <a:buNone/>
              <a:defRPr sz="2400">
                <a:solidFill>
                  <a:schemeClr val="tx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9" name="Text Placeholder 4">
            <a:extLst>
              <a:ext uri="{FF2B5EF4-FFF2-40B4-BE49-F238E27FC236}">
                <a16:creationId xmlns:a16="http://schemas.microsoft.com/office/drawing/2014/main" id="{9D229DDF-28A8-4374-8833-6BC778351496}"/>
              </a:ext>
            </a:extLst>
          </p:cNvPr>
          <p:cNvSpPr>
            <a:spLocks noGrp="1"/>
          </p:cNvSpPr>
          <p:nvPr>
            <p:ph type="body" sz="quarter" idx="13" hasCustomPrompt="1"/>
          </p:nvPr>
        </p:nvSpPr>
        <p:spPr>
          <a:xfrm>
            <a:off x="695325" y="5024348"/>
            <a:ext cx="5400675" cy="365125"/>
          </a:xfrm>
        </p:spPr>
        <p:txBody>
          <a:bodyPr/>
          <a:lstStyle>
            <a:lvl1pPr>
              <a:defRPr sz="1800"/>
            </a:lvl1pPr>
          </a:lstStyle>
          <a:p>
            <a:pPr lvl="0"/>
            <a:r>
              <a:rPr lang="en-US"/>
              <a:t>Date</a:t>
            </a:r>
          </a:p>
        </p:txBody>
      </p:sp>
      <p:pic>
        <p:nvPicPr>
          <p:cNvPr id="21" name="Picture 20">
            <a:extLst>
              <a:ext uri="{FF2B5EF4-FFF2-40B4-BE49-F238E27FC236}">
                <a16:creationId xmlns:a16="http://schemas.microsoft.com/office/drawing/2014/main" id="{76637089-851E-4A1D-BAAE-7C5AA19730E6}"/>
              </a:ext>
            </a:extLst>
          </p:cNvPr>
          <p:cNvPicPr>
            <a:picLocks noChangeAspect="1"/>
          </p:cNvPicPr>
          <p:nvPr userDrawn="1"/>
        </p:nvPicPr>
        <p:blipFill>
          <a:blip r:embed="rId8" cstate="email">
            <a:extLst>
              <a:ext uri="{28A0092B-C50C-407E-A947-70E740481C1C}">
                <a14:useLocalDpi xmlns:a14="http://schemas.microsoft.com/office/drawing/2010/main"/>
              </a:ext>
            </a:extLst>
          </a:blip>
          <a:srcRect/>
          <a:stretch/>
        </p:blipFill>
        <p:spPr>
          <a:xfrm>
            <a:off x="6869441" y="1539551"/>
            <a:ext cx="3869460" cy="3778898"/>
          </a:xfrm>
          <a:prstGeom prst="rect">
            <a:avLst/>
          </a:prstGeom>
        </p:spPr>
      </p:pic>
    </p:spTree>
    <p:extLst>
      <p:ext uri="{BB962C8B-B14F-4D97-AF65-F5344CB8AC3E}">
        <p14:creationId xmlns:p14="http://schemas.microsoft.com/office/powerpoint/2010/main" val="2660028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82282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82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a:extLst>
              <a:ext uri="{FF2B5EF4-FFF2-40B4-BE49-F238E27FC236}">
                <a16:creationId xmlns:a16="http://schemas.microsoft.com/office/drawing/2014/main" id="{DFDDE4B7-1CAB-C84F-90FD-9F68D636888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1901860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19013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44"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2F22FD0-6596-4843-9D87-E0FE7F322A8B}"/>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1"/>
          <p:cNvSpPr>
            <a:spLocks/>
          </p:cNvSpPr>
          <p:nvPr userDrawn="1"/>
        </p:nvSpPr>
        <p:spPr bwMode="auto">
          <a:xfrm>
            <a:off x="2" y="1"/>
            <a:ext cx="12191999" cy="6857998"/>
          </a:xfrm>
          <a:custGeom>
            <a:avLst/>
            <a:gdLst>
              <a:gd name="connsiteX0" fmla="*/ 4431989 w 12191999"/>
              <a:gd name="connsiteY0" fmla="*/ 5571788 h 6857998"/>
              <a:gd name="connsiteX1" fmla="*/ 4431989 w 12191999"/>
              <a:gd name="connsiteY1" fmla="*/ 5997393 h 6857998"/>
              <a:gd name="connsiteX2" fmla="*/ 4797291 w 12191999"/>
              <a:gd name="connsiteY2" fmla="*/ 5783919 h 6857998"/>
              <a:gd name="connsiteX3" fmla="*/ 370675 w 12191999"/>
              <a:gd name="connsiteY3" fmla="*/ 4927340 h 6857998"/>
              <a:gd name="connsiteX4" fmla="*/ 2686 w 12191999"/>
              <a:gd name="connsiteY4" fmla="*/ 5139471 h 6857998"/>
              <a:gd name="connsiteX5" fmla="*/ 370675 w 12191999"/>
              <a:gd name="connsiteY5" fmla="*/ 5352945 h 6857998"/>
              <a:gd name="connsiteX6" fmla="*/ 6275965 w 12191999"/>
              <a:gd name="connsiteY6" fmla="*/ 3218211 h 6857998"/>
              <a:gd name="connsiteX7" fmla="*/ 5912005 w 12191999"/>
              <a:gd name="connsiteY7" fmla="*/ 3430342 h 6857998"/>
              <a:gd name="connsiteX8" fmla="*/ 6275965 w 12191999"/>
              <a:gd name="connsiteY8" fmla="*/ 3643816 h 6857998"/>
              <a:gd name="connsiteX9" fmla="*/ 370675 w 12191999"/>
              <a:gd name="connsiteY9" fmla="*/ 3218211 h 6857998"/>
              <a:gd name="connsiteX10" fmla="*/ 370675 w 12191999"/>
              <a:gd name="connsiteY10" fmla="*/ 4076133 h 6857998"/>
              <a:gd name="connsiteX11" fmla="*/ 735978 w 12191999"/>
              <a:gd name="connsiteY11" fmla="*/ 4285578 h 6857998"/>
              <a:gd name="connsiteX12" fmla="*/ 735978 w 12191999"/>
              <a:gd name="connsiteY12" fmla="*/ 3430342 h 6857998"/>
              <a:gd name="connsiteX13" fmla="*/ 5171997 w 12191999"/>
              <a:gd name="connsiteY13" fmla="*/ 1290239 h 6857998"/>
              <a:gd name="connsiteX14" fmla="*/ 5171997 w 12191999"/>
              <a:gd name="connsiteY14" fmla="*/ 1715843 h 6857998"/>
              <a:gd name="connsiteX15" fmla="*/ 5537299 w 12191999"/>
              <a:gd name="connsiteY15" fmla="*/ 1502370 h 6857998"/>
              <a:gd name="connsiteX16" fmla="*/ 370675 w 12191999"/>
              <a:gd name="connsiteY16" fmla="*/ 645791 h 6857998"/>
              <a:gd name="connsiteX17" fmla="*/ 370675 w 12191999"/>
              <a:gd name="connsiteY17" fmla="*/ 1071396 h 6857998"/>
              <a:gd name="connsiteX18" fmla="*/ 735978 w 12191999"/>
              <a:gd name="connsiteY18" fmla="*/ 857922 h 6857998"/>
              <a:gd name="connsiteX19" fmla="*/ 2958689 w 12191999"/>
              <a:gd name="connsiteY19" fmla="*/ 0 h 6857998"/>
              <a:gd name="connsiteX20" fmla="*/ 12191999 w 12191999"/>
              <a:gd name="connsiteY20" fmla="*/ 0 h 6857998"/>
              <a:gd name="connsiteX21" fmla="*/ 12191999 w 12191999"/>
              <a:gd name="connsiteY21" fmla="*/ 6857998 h 6857998"/>
              <a:gd name="connsiteX22" fmla="*/ 4431991 w 12191999"/>
              <a:gd name="connsiteY22" fmla="*/ 6857998 h 6857998"/>
              <a:gd name="connsiteX23" fmla="*/ 4797291 w 12191999"/>
              <a:gd name="connsiteY23" fmla="*/ 6641840 h 6857998"/>
              <a:gd name="connsiteX24" fmla="*/ 4431989 w 12191999"/>
              <a:gd name="connsiteY24" fmla="*/ 6429709 h 6857998"/>
              <a:gd name="connsiteX25" fmla="*/ 4431989 w 12191999"/>
              <a:gd name="connsiteY25" fmla="*/ 6857998 h 6857998"/>
              <a:gd name="connsiteX26" fmla="*/ 3691983 w 12191999"/>
              <a:gd name="connsiteY26" fmla="*/ 6857998 h 6857998"/>
              <a:gd name="connsiteX27" fmla="*/ 3691983 w 12191999"/>
              <a:gd name="connsiteY27" fmla="*/ 6848600 h 6857998"/>
              <a:gd name="connsiteX28" fmla="*/ 3691983 w 12191999"/>
              <a:gd name="connsiteY28" fmla="*/ 6000077 h 6857998"/>
              <a:gd name="connsiteX29" fmla="*/ 5537300 w 12191999"/>
              <a:gd name="connsiteY29" fmla="*/ 4927340 h 6857998"/>
              <a:gd name="connsiteX30" fmla="*/ 5537300 w 12191999"/>
              <a:gd name="connsiteY30" fmla="*/ 3641129 h 6857998"/>
              <a:gd name="connsiteX31" fmla="*/ 5165282 w 12191999"/>
              <a:gd name="connsiteY31" fmla="*/ 3427656 h 6857998"/>
              <a:gd name="connsiteX32" fmla="*/ 5165282 w 12191999"/>
              <a:gd name="connsiteY32" fmla="*/ 2148160 h 6857998"/>
              <a:gd name="connsiteX33" fmla="*/ 4793264 w 12191999"/>
              <a:gd name="connsiteY33" fmla="*/ 1934686 h 6857998"/>
              <a:gd name="connsiteX34" fmla="*/ 4793264 w 12191999"/>
              <a:gd name="connsiteY34" fmla="*/ 1502369 h 6857998"/>
              <a:gd name="connsiteX35" fmla="*/ 4431989 w 12191999"/>
              <a:gd name="connsiteY35" fmla="*/ 1292924 h 6857998"/>
              <a:gd name="connsiteX36" fmla="*/ 4431989 w 12191999"/>
              <a:gd name="connsiteY36" fmla="*/ 857921 h 6857998"/>
              <a:gd name="connsiteX37" fmla="*/ 0 w 12191999"/>
              <a:gd name="connsiteY37" fmla="*/ 0 h 6857998"/>
              <a:gd name="connsiteX38" fmla="*/ 735979 w 12191999"/>
              <a:gd name="connsiteY38" fmla="*/ 0 h 6857998"/>
              <a:gd name="connsiteX39" fmla="*/ 738666 w 12191999"/>
              <a:gd name="connsiteY39" fmla="*/ 0 h 6857998"/>
              <a:gd name="connsiteX40" fmla="*/ 738666 w 12191999"/>
              <a:gd name="connsiteY40" fmla="*/ 1287553 h 6857998"/>
              <a:gd name="connsiteX41" fmla="*/ 367990 w 12191999"/>
              <a:gd name="connsiteY41" fmla="*/ 1499684 h 6857998"/>
              <a:gd name="connsiteX42" fmla="*/ 367990 w 12191999"/>
              <a:gd name="connsiteY42" fmla="*/ 1927973 h 6857998"/>
              <a:gd name="connsiteX43" fmla="*/ 735979 w 12191999"/>
              <a:gd name="connsiteY43" fmla="*/ 2141447 h 6857998"/>
              <a:gd name="connsiteX44" fmla="*/ 735979 w 12191999"/>
              <a:gd name="connsiteY44" fmla="*/ 2573764 h 6857998"/>
              <a:gd name="connsiteX45" fmla="*/ 1107998 w 12191999"/>
              <a:gd name="connsiteY45" fmla="*/ 2789922 h 6857998"/>
              <a:gd name="connsiteX46" fmla="*/ 1107998 w 12191999"/>
              <a:gd name="connsiteY46" fmla="*/ 5783919 h 6857998"/>
              <a:gd name="connsiteX47" fmla="*/ 367990 w 12191999"/>
              <a:gd name="connsiteY47" fmla="*/ 6216236 h 6857998"/>
              <a:gd name="connsiteX48" fmla="*/ 367990 w 12191999"/>
              <a:gd name="connsiteY48" fmla="*/ 6641840 h 6857998"/>
              <a:gd name="connsiteX49" fmla="*/ 738666 w 12191999"/>
              <a:gd name="connsiteY49" fmla="*/ 6425681 h 6857998"/>
              <a:gd name="connsiteX50" fmla="*/ 738666 w 12191999"/>
              <a:gd name="connsiteY50" fmla="*/ 6857998 h 6857998"/>
              <a:gd name="connsiteX51" fmla="*/ 0 w 12191999"/>
              <a:gd name="connsiteY51" fmla="*/ 6857998 h 6857998"/>
              <a:gd name="connsiteX52" fmla="*/ 0 w 12191999"/>
              <a:gd name="connsiteY52" fmla="*/ 4717894 h 6857998"/>
              <a:gd name="connsiteX53" fmla="*/ 365304 w 12191999"/>
              <a:gd name="connsiteY53" fmla="*/ 4504421 h 6857998"/>
              <a:gd name="connsiteX54" fmla="*/ 0 w 12191999"/>
              <a:gd name="connsiteY54" fmla="*/ 4292290 h 6857998"/>
              <a:gd name="connsiteX55" fmla="*/ 0 w 12191999"/>
              <a:gd name="connsiteY55" fmla="*/ 4285577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91999" h="6857998">
                <a:moveTo>
                  <a:pt x="4431989" y="5571788"/>
                </a:moveTo>
                <a:lnTo>
                  <a:pt x="4431989" y="5997393"/>
                </a:lnTo>
                <a:lnTo>
                  <a:pt x="4797291" y="5783919"/>
                </a:lnTo>
                <a:close/>
                <a:moveTo>
                  <a:pt x="370675" y="4927340"/>
                </a:moveTo>
                <a:lnTo>
                  <a:pt x="2686" y="5139471"/>
                </a:lnTo>
                <a:lnTo>
                  <a:pt x="370675" y="5352945"/>
                </a:lnTo>
                <a:close/>
                <a:moveTo>
                  <a:pt x="6275965" y="3218211"/>
                </a:moveTo>
                <a:lnTo>
                  <a:pt x="5912005" y="3430342"/>
                </a:lnTo>
                <a:lnTo>
                  <a:pt x="6275965" y="3643816"/>
                </a:lnTo>
                <a:close/>
                <a:moveTo>
                  <a:pt x="370675" y="3218211"/>
                </a:moveTo>
                <a:lnTo>
                  <a:pt x="370675" y="4076133"/>
                </a:lnTo>
                <a:lnTo>
                  <a:pt x="735978" y="4285578"/>
                </a:lnTo>
                <a:lnTo>
                  <a:pt x="735978" y="3430342"/>
                </a:lnTo>
                <a:close/>
                <a:moveTo>
                  <a:pt x="5171997" y="1290239"/>
                </a:moveTo>
                <a:lnTo>
                  <a:pt x="5171997" y="1715843"/>
                </a:lnTo>
                <a:lnTo>
                  <a:pt x="5537299" y="1502370"/>
                </a:lnTo>
                <a:close/>
                <a:moveTo>
                  <a:pt x="370675" y="645791"/>
                </a:moveTo>
                <a:lnTo>
                  <a:pt x="370675" y="1071396"/>
                </a:lnTo>
                <a:lnTo>
                  <a:pt x="735978" y="857922"/>
                </a:lnTo>
                <a:close/>
                <a:moveTo>
                  <a:pt x="2958689" y="0"/>
                </a:moveTo>
                <a:lnTo>
                  <a:pt x="12191999" y="0"/>
                </a:lnTo>
                <a:lnTo>
                  <a:pt x="12191999" y="6857998"/>
                </a:lnTo>
                <a:lnTo>
                  <a:pt x="4431991" y="6857998"/>
                </a:lnTo>
                <a:lnTo>
                  <a:pt x="4797291" y="6641840"/>
                </a:lnTo>
                <a:lnTo>
                  <a:pt x="4431989" y="6429709"/>
                </a:lnTo>
                <a:lnTo>
                  <a:pt x="4431989" y="6857998"/>
                </a:lnTo>
                <a:lnTo>
                  <a:pt x="3691983" y="6857998"/>
                </a:lnTo>
                <a:lnTo>
                  <a:pt x="3691983" y="6848600"/>
                </a:lnTo>
                <a:lnTo>
                  <a:pt x="3691983" y="6000077"/>
                </a:lnTo>
                <a:lnTo>
                  <a:pt x="5537300" y="4927340"/>
                </a:lnTo>
                <a:lnTo>
                  <a:pt x="5537300" y="3641129"/>
                </a:lnTo>
                <a:lnTo>
                  <a:pt x="5165282" y="3427656"/>
                </a:lnTo>
                <a:lnTo>
                  <a:pt x="5165282" y="2148160"/>
                </a:lnTo>
                <a:lnTo>
                  <a:pt x="4793264" y="1934686"/>
                </a:lnTo>
                <a:lnTo>
                  <a:pt x="4793264" y="1502369"/>
                </a:lnTo>
                <a:lnTo>
                  <a:pt x="4431989" y="1292924"/>
                </a:lnTo>
                <a:lnTo>
                  <a:pt x="4431989" y="857921"/>
                </a:lnTo>
                <a:close/>
                <a:moveTo>
                  <a:pt x="0" y="0"/>
                </a:moveTo>
                <a:lnTo>
                  <a:pt x="735979" y="0"/>
                </a:lnTo>
                <a:lnTo>
                  <a:pt x="738666" y="0"/>
                </a:lnTo>
                <a:lnTo>
                  <a:pt x="738666" y="1287553"/>
                </a:lnTo>
                <a:lnTo>
                  <a:pt x="367990" y="1499684"/>
                </a:lnTo>
                <a:lnTo>
                  <a:pt x="367990" y="1927973"/>
                </a:lnTo>
                <a:lnTo>
                  <a:pt x="735979" y="2141447"/>
                </a:lnTo>
                <a:lnTo>
                  <a:pt x="735979" y="2573764"/>
                </a:lnTo>
                <a:lnTo>
                  <a:pt x="1107998" y="2789922"/>
                </a:lnTo>
                <a:lnTo>
                  <a:pt x="1107998" y="5783919"/>
                </a:lnTo>
                <a:lnTo>
                  <a:pt x="367990" y="6216236"/>
                </a:lnTo>
                <a:lnTo>
                  <a:pt x="367990" y="6641840"/>
                </a:lnTo>
                <a:lnTo>
                  <a:pt x="738666" y="6425681"/>
                </a:lnTo>
                <a:lnTo>
                  <a:pt x="738666" y="6857998"/>
                </a:lnTo>
                <a:lnTo>
                  <a:pt x="0" y="6857998"/>
                </a:lnTo>
                <a:lnTo>
                  <a:pt x="0" y="4717894"/>
                </a:lnTo>
                <a:lnTo>
                  <a:pt x="365304" y="4504421"/>
                </a:lnTo>
                <a:lnTo>
                  <a:pt x="0" y="4292290"/>
                </a:lnTo>
                <a:lnTo>
                  <a:pt x="0" y="4285577"/>
                </a:ln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pPr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3" name="Freeform 7"/>
          <p:cNvSpPr>
            <a:spLocks/>
          </p:cNvSpPr>
          <p:nvPr userDrawn="1"/>
        </p:nvSpPr>
        <p:spPr bwMode="auto">
          <a:xfrm>
            <a:off x="6275966" y="3643816"/>
            <a:ext cx="365303" cy="428290"/>
          </a:xfrm>
          <a:custGeom>
            <a:avLst/>
            <a:gdLst>
              <a:gd name="T0" fmla="*/ 0 w 272"/>
              <a:gd name="T1" fmla="*/ 319 h 319"/>
              <a:gd name="T2" fmla="*/ 0 w 272"/>
              <a:gd name="T3" fmla="*/ 0 h 319"/>
              <a:gd name="T4" fmla="*/ 272 w 272"/>
              <a:gd name="T5" fmla="*/ 161 h 319"/>
              <a:gd name="T6" fmla="*/ 0 w 272"/>
              <a:gd name="T7" fmla="*/ 319 h 319"/>
            </a:gdLst>
            <a:ahLst/>
            <a:cxnLst>
              <a:cxn ang="0">
                <a:pos x="T0" y="T1"/>
              </a:cxn>
              <a:cxn ang="0">
                <a:pos x="T2" y="T3"/>
              </a:cxn>
              <a:cxn ang="0">
                <a:pos x="T4" y="T5"/>
              </a:cxn>
              <a:cxn ang="0">
                <a:pos x="T6" y="T7"/>
              </a:cxn>
            </a:cxnLst>
            <a:rect l="0" t="0" r="r" b="b"/>
            <a:pathLst>
              <a:path w="272" h="319">
                <a:moveTo>
                  <a:pt x="0" y="319"/>
                </a:moveTo>
                <a:lnTo>
                  <a:pt x="0" y="0"/>
                </a:lnTo>
                <a:lnTo>
                  <a:pt x="272" y="161"/>
                </a:lnTo>
                <a:lnTo>
                  <a:pt x="0" y="319"/>
                </a:lnTo>
                <a:close/>
              </a:path>
            </a:pathLst>
          </a:custGeom>
          <a:gradFill>
            <a:gsLst>
              <a:gs pos="0">
                <a:srgbClr val="EB6139"/>
              </a:gs>
              <a:gs pos="100000">
                <a:srgbClr val="D95D3E"/>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4" name="Freeform 8"/>
          <p:cNvSpPr>
            <a:spLocks/>
          </p:cNvSpPr>
          <p:nvPr userDrawn="1"/>
        </p:nvSpPr>
        <p:spPr bwMode="auto">
          <a:xfrm>
            <a:off x="5542673" y="2789922"/>
            <a:ext cx="365303" cy="425605"/>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F7437"/>
              </a:gs>
              <a:gs pos="100000">
                <a:srgbClr val="FF6C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5" name="Freeform 9"/>
          <p:cNvSpPr>
            <a:spLocks/>
          </p:cNvSpPr>
          <p:nvPr userDrawn="1"/>
        </p:nvSpPr>
        <p:spPr bwMode="auto">
          <a:xfrm>
            <a:off x="5539987" y="5783919"/>
            <a:ext cx="365303" cy="425605"/>
          </a:xfrm>
          <a:custGeom>
            <a:avLst/>
            <a:gdLst>
              <a:gd name="T0" fmla="*/ 0 w 272"/>
              <a:gd name="T1" fmla="*/ 317 h 317"/>
              <a:gd name="T2" fmla="*/ 0 w 272"/>
              <a:gd name="T3" fmla="*/ 0 h 317"/>
              <a:gd name="T4" fmla="*/ 272 w 272"/>
              <a:gd name="T5" fmla="*/ 159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9"/>
                </a:lnTo>
                <a:lnTo>
                  <a:pt x="0" y="317"/>
                </a:lnTo>
                <a:close/>
              </a:path>
            </a:pathLst>
          </a:custGeom>
          <a:gradFill>
            <a:gsLst>
              <a:gs pos="0">
                <a:srgbClr val="66425F"/>
              </a:gs>
              <a:gs pos="100000">
                <a:srgbClr val="513E64"/>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6" name="Freeform 12"/>
          <p:cNvSpPr>
            <a:spLocks/>
          </p:cNvSpPr>
          <p:nvPr userDrawn="1"/>
        </p:nvSpPr>
        <p:spPr bwMode="auto">
          <a:xfrm>
            <a:off x="367989" y="2369689"/>
            <a:ext cx="367989" cy="848523"/>
          </a:xfrm>
          <a:custGeom>
            <a:avLst/>
            <a:gdLst>
              <a:gd name="T0" fmla="*/ 2 w 274"/>
              <a:gd name="T1" fmla="*/ 0 h 632"/>
              <a:gd name="T2" fmla="*/ 0 w 274"/>
              <a:gd name="T3" fmla="*/ 317 h 632"/>
              <a:gd name="T4" fmla="*/ 0 w 274"/>
              <a:gd name="T5" fmla="*/ 632 h 632"/>
              <a:gd name="T6" fmla="*/ 274 w 274"/>
              <a:gd name="T7" fmla="*/ 471 h 632"/>
              <a:gd name="T8" fmla="*/ 274 w 274"/>
              <a:gd name="T9" fmla="*/ 156 h 632"/>
              <a:gd name="T10" fmla="*/ 2 w 274"/>
              <a:gd name="T11" fmla="*/ 0 h 632"/>
            </a:gdLst>
            <a:ahLst/>
            <a:cxnLst>
              <a:cxn ang="0">
                <a:pos x="T0" y="T1"/>
              </a:cxn>
              <a:cxn ang="0">
                <a:pos x="T2" y="T3"/>
              </a:cxn>
              <a:cxn ang="0">
                <a:pos x="T4" y="T5"/>
              </a:cxn>
              <a:cxn ang="0">
                <a:pos x="T6" y="T7"/>
              </a:cxn>
              <a:cxn ang="0">
                <a:pos x="T8" y="T9"/>
              </a:cxn>
              <a:cxn ang="0">
                <a:pos x="T10" y="T11"/>
              </a:cxn>
            </a:cxnLst>
            <a:rect l="0" t="0" r="r" b="b"/>
            <a:pathLst>
              <a:path w="274" h="632">
                <a:moveTo>
                  <a:pt x="2" y="0"/>
                </a:moveTo>
                <a:lnTo>
                  <a:pt x="0" y="317"/>
                </a:lnTo>
                <a:lnTo>
                  <a:pt x="0" y="632"/>
                </a:lnTo>
                <a:lnTo>
                  <a:pt x="274" y="471"/>
                </a:lnTo>
                <a:lnTo>
                  <a:pt x="274" y="156"/>
                </a:lnTo>
                <a:lnTo>
                  <a:pt x="2" y="0"/>
                </a:lnTo>
                <a:close/>
              </a:path>
            </a:pathLst>
          </a:custGeom>
          <a:gradFill>
            <a:gsLst>
              <a:gs pos="0">
                <a:srgbClr val="FE7D37"/>
              </a:gs>
              <a:gs pos="100000">
                <a:srgbClr val="FF6D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7" name="Freeform 13"/>
          <p:cNvSpPr>
            <a:spLocks/>
          </p:cNvSpPr>
          <p:nvPr userDrawn="1"/>
        </p:nvSpPr>
        <p:spPr bwMode="auto">
          <a:xfrm>
            <a:off x="367989" y="4927341"/>
            <a:ext cx="367989" cy="847181"/>
          </a:xfrm>
          <a:custGeom>
            <a:avLst/>
            <a:gdLst>
              <a:gd name="T0" fmla="*/ 2 w 274"/>
              <a:gd name="T1" fmla="*/ 0 h 631"/>
              <a:gd name="T2" fmla="*/ 0 w 274"/>
              <a:gd name="T3" fmla="*/ 314 h 631"/>
              <a:gd name="T4" fmla="*/ 0 w 274"/>
              <a:gd name="T5" fmla="*/ 631 h 631"/>
              <a:gd name="T6" fmla="*/ 274 w 274"/>
              <a:gd name="T7" fmla="*/ 471 h 631"/>
              <a:gd name="T8" fmla="*/ 274 w 274"/>
              <a:gd name="T9" fmla="*/ 156 h 631"/>
              <a:gd name="T10" fmla="*/ 2 w 274"/>
              <a:gd name="T11" fmla="*/ 0 h 631"/>
            </a:gdLst>
            <a:ahLst/>
            <a:cxnLst>
              <a:cxn ang="0">
                <a:pos x="T0" y="T1"/>
              </a:cxn>
              <a:cxn ang="0">
                <a:pos x="T2" y="T3"/>
              </a:cxn>
              <a:cxn ang="0">
                <a:pos x="T4" y="T5"/>
              </a:cxn>
              <a:cxn ang="0">
                <a:pos x="T6" y="T7"/>
              </a:cxn>
              <a:cxn ang="0">
                <a:pos x="T8" y="T9"/>
              </a:cxn>
              <a:cxn ang="0">
                <a:pos x="T10" y="T11"/>
              </a:cxn>
            </a:cxnLst>
            <a:rect l="0" t="0" r="r" b="b"/>
            <a:pathLst>
              <a:path w="274" h="631">
                <a:moveTo>
                  <a:pt x="2" y="0"/>
                </a:moveTo>
                <a:lnTo>
                  <a:pt x="0" y="314"/>
                </a:lnTo>
                <a:lnTo>
                  <a:pt x="0" y="631"/>
                </a:lnTo>
                <a:lnTo>
                  <a:pt x="274" y="471"/>
                </a:lnTo>
                <a:lnTo>
                  <a:pt x="274" y="156"/>
                </a:lnTo>
                <a:lnTo>
                  <a:pt x="2" y="0"/>
                </a:lnTo>
                <a:close/>
              </a:path>
            </a:pathLst>
          </a:custGeom>
          <a:gradFill>
            <a:gsLst>
              <a:gs pos="0">
                <a:srgbClr val="994E50"/>
              </a:gs>
              <a:gs pos="100000">
                <a:srgbClr val="7D5B71"/>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8" name="Freeform 14"/>
          <p:cNvSpPr>
            <a:spLocks/>
          </p:cNvSpPr>
          <p:nvPr userDrawn="1"/>
        </p:nvSpPr>
        <p:spPr bwMode="auto">
          <a:xfrm>
            <a:off x="5546702" y="3859974"/>
            <a:ext cx="729264" cy="1286210"/>
          </a:xfrm>
          <a:custGeom>
            <a:avLst/>
            <a:gdLst>
              <a:gd name="T0" fmla="*/ 543 w 543"/>
              <a:gd name="T1" fmla="*/ 799 h 958"/>
              <a:gd name="T2" fmla="*/ 543 w 543"/>
              <a:gd name="T3" fmla="*/ 158 h 958"/>
              <a:gd name="T4" fmla="*/ 272 w 543"/>
              <a:gd name="T5" fmla="*/ 0 h 958"/>
              <a:gd name="T6" fmla="*/ 272 w 543"/>
              <a:gd name="T7" fmla="*/ 641 h 958"/>
              <a:gd name="T8" fmla="*/ 0 w 543"/>
              <a:gd name="T9" fmla="*/ 799 h 958"/>
              <a:gd name="T10" fmla="*/ 272 w 543"/>
              <a:gd name="T11" fmla="*/ 958 h 958"/>
              <a:gd name="T12" fmla="*/ 543 w 543"/>
              <a:gd name="T13" fmla="*/ 799 h 958"/>
            </a:gdLst>
            <a:ahLst/>
            <a:cxnLst>
              <a:cxn ang="0">
                <a:pos x="T0" y="T1"/>
              </a:cxn>
              <a:cxn ang="0">
                <a:pos x="T2" y="T3"/>
              </a:cxn>
              <a:cxn ang="0">
                <a:pos x="T4" y="T5"/>
              </a:cxn>
              <a:cxn ang="0">
                <a:pos x="T6" y="T7"/>
              </a:cxn>
              <a:cxn ang="0">
                <a:pos x="T8" y="T9"/>
              </a:cxn>
              <a:cxn ang="0">
                <a:pos x="T10" y="T11"/>
              </a:cxn>
              <a:cxn ang="0">
                <a:pos x="T12" y="T13"/>
              </a:cxn>
            </a:cxnLst>
            <a:rect l="0" t="0" r="r" b="b"/>
            <a:pathLst>
              <a:path w="543" h="958">
                <a:moveTo>
                  <a:pt x="543" y="799"/>
                </a:moveTo>
                <a:lnTo>
                  <a:pt x="543" y="158"/>
                </a:lnTo>
                <a:lnTo>
                  <a:pt x="272" y="0"/>
                </a:lnTo>
                <a:lnTo>
                  <a:pt x="272" y="641"/>
                </a:lnTo>
                <a:lnTo>
                  <a:pt x="0" y="799"/>
                </a:lnTo>
                <a:lnTo>
                  <a:pt x="272" y="958"/>
                </a:lnTo>
                <a:lnTo>
                  <a:pt x="543" y="799"/>
                </a:lnTo>
                <a:close/>
              </a:path>
            </a:pathLst>
          </a:custGeom>
          <a:gradFill>
            <a:gsLst>
              <a:gs pos="0">
                <a:srgbClr val="DC5E3D"/>
              </a:gs>
              <a:gs pos="100000">
                <a:srgbClr val="964E51"/>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 name="Freeform 15"/>
          <p:cNvSpPr>
            <a:spLocks/>
          </p:cNvSpPr>
          <p:nvPr userDrawn="1"/>
        </p:nvSpPr>
        <p:spPr bwMode="auto">
          <a:xfrm>
            <a:off x="5546702" y="1715842"/>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FE8F3D"/>
              </a:gs>
              <a:gs pos="100000">
                <a:srgbClr val="FE883D"/>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0" name="Freeform 16"/>
          <p:cNvSpPr>
            <a:spLocks/>
          </p:cNvSpPr>
          <p:nvPr userDrawn="1"/>
        </p:nvSpPr>
        <p:spPr bwMode="auto">
          <a:xfrm>
            <a:off x="742694" y="1502369"/>
            <a:ext cx="365303" cy="429632"/>
          </a:xfrm>
          <a:custGeom>
            <a:avLst/>
            <a:gdLst>
              <a:gd name="T0" fmla="*/ 272 w 272"/>
              <a:gd name="T1" fmla="*/ 320 h 320"/>
              <a:gd name="T2" fmla="*/ 0 w 272"/>
              <a:gd name="T3" fmla="*/ 161 h 320"/>
              <a:gd name="T4" fmla="*/ 272 w 272"/>
              <a:gd name="T5" fmla="*/ 0 h 320"/>
              <a:gd name="T6" fmla="*/ 272 w 272"/>
              <a:gd name="T7" fmla="*/ 320 h 320"/>
            </a:gdLst>
            <a:ahLst/>
            <a:cxnLst>
              <a:cxn ang="0">
                <a:pos x="T0" y="T1"/>
              </a:cxn>
              <a:cxn ang="0">
                <a:pos x="T2" y="T3"/>
              </a:cxn>
              <a:cxn ang="0">
                <a:pos x="T4" y="T5"/>
              </a:cxn>
              <a:cxn ang="0">
                <a:pos x="T6" y="T7"/>
              </a:cxn>
            </a:cxnLst>
            <a:rect l="0" t="0" r="r" b="b"/>
            <a:pathLst>
              <a:path w="272" h="320">
                <a:moveTo>
                  <a:pt x="272" y="320"/>
                </a:moveTo>
                <a:lnTo>
                  <a:pt x="0" y="161"/>
                </a:lnTo>
                <a:lnTo>
                  <a:pt x="272" y="0"/>
                </a:lnTo>
                <a:lnTo>
                  <a:pt x="272" y="320"/>
                </a:lnTo>
                <a:close/>
              </a:path>
            </a:pathLst>
          </a:custGeom>
          <a:gradFill>
            <a:gsLst>
              <a:gs pos="0">
                <a:srgbClr val="FE9541"/>
              </a:gs>
              <a:gs pos="100000">
                <a:srgbClr val="FE8E3F"/>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 name="Freeform 17"/>
          <p:cNvSpPr>
            <a:spLocks/>
          </p:cNvSpPr>
          <p:nvPr userDrawn="1"/>
        </p:nvSpPr>
        <p:spPr bwMode="auto">
          <a:xfrm>
            <a:off x="1475987" y="2573764"/>
            <a:ext cx="365303" cy="425605"/>
          </a:xfrm>
          <a:custGeom>
            <a:avLst/>
            <a:gdLst>
              <a:gd name="T0" fmla="*/ 0 w 272"/>
              <a:gd name="T1" fmla="*/ 317 h 317"/>
              <a:gd name="T2" fmla="*/ 272 w 272"/>
              <a:gd name="T3" fmla="*/ 158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8"/>
                </a:lnTo>
                <a:lnTo>
                  <a:pt x="0" y="0"/>
                </a:lnTo>
                <a:lnTo>
                  <a:pt x="0" y="317"/>
                </a:lnTo>
                <a:close/>
              </a:path>
            </a:pathLst>
          </a:custGeom>
          <a:gradFill>
            <a:gsLst>
              <a:gs pos="0">
                <a:srgbClr val="FF7B3A"/>
              </a:gs>
              <a:gs pos="100000">
                <a:srgbClr val="FF763A"/>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2" name="Freeform 18"/>
          <p:cNvSpPr>
            <a:spLocks/>
          </p:cNvSpPr>
          <p:nvPr userDrawn="1"/>
        </p:nvSpPr>
        <p:spPr bwMode="auto">
          <a:xfrm>
            <a:off x="4806694" y="4072105"/>
            <a:ext cx="365303" cy="425605"/>
          </a:xfrm>
          <a:custGeom>
            <a:avLst/>
            <a:gdLst>
              <a:gd name="T0" fmla="*/ 0 w 272"/>
              <a:gd name="T1" fmla="*/ 317 h 317"/>
              <a:gd name="T2" fmla="*/ 272 w 272"/>
              <a:gd name="T3" fmla="*/ 159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9"/>
                </a:lnTo>
                <a:lnTo>
                  <a:pt x="0" y="0"/>
                </a:lnTo>
                <a:lnTo>
                  <a:pt x="0" y="317"/>
                </a:lnTo>
                <a:close/>
              </a:path>
            </a:pathLst>
          </a:custGeom>
          <a:gradFill>
            <a:gsLst>
              <a:gs pos="0">
                <a:srgbClr val="D05B40"/>
              </a:gs>
              <a:gs pos="100000">
                <a:srgbClr val="BE5F4F"/>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3" name="Freeform 19"/>
          <p:cNvSpPr>
            <a:spLocks/>
          </p:cNvSpPr>
          <p:nvPr userDrawn="1"/>
        </p:nvSpPr>
        <p:spPr bwMode="auto">
          <a:xfrm>
            <a:off x="4429303" y="4717895"/>
            <a:ext cx="363961" cy="425605"/>
          </a:xfrm>
          <a:custGeom>
            <a:avLst/>
            <a:gdLst>
              <a:gd name="T0" fmla="*/ 0 w 271"/>
              <a:gd name="T1" fmla="*/ 317 h 317"/>
              <a:gd name="T2" fmla="*/ 271 w 271"/>
              <a:gd name="T3" fmla="*/ 158 h 317"/>
              <a:gd name="T4" fmla="*/ 0 w 271"/>
              <a:gd name="T5" fmla="*/ 0 h 317"/>
              <a:gd name="T6" fmla="*/ 0 w 271"/>
              <a:gd name="T7" fmla="*/ 317 h 317"/>
            </a:gdLst>
            <a:ahLst/>
            <a:cxnLst>
              <a:cxn ang="0">
                <a:pos x="T0" y="T1"/>
              </a:cxn>
              <a:cxn ang="0">
                <a:pos x="T2" y="T3"/>
              </a:cxn>
              <a:cxn ang="0">
                <a:pos x="T4" y="T5"/>
              </a:cxn>
              <a:cxn ang="0">
                <a:pos x="T6" y="T7"/>
              </a:cxn>
            </a:cxnLst>
            <a:rect l="0" t="0" r="r" b="b"/>
            <a:pathLst>
              <a:path w="271" h="317">
                <a:moveTo>
                  <a:pt x="0" y="317"/>
                </a:moveTo>
                <a:lnTo>
                  <a:pt x="271" y="158"/>
                </a:lnTo>
                <a:lnTo>
                  <a:pt x="0" y="0"/>
                </a:lnTo>
                <a:lnTo>
                  <a:pt x="0" y="317"/>
                </a:lnTo>
                <a:close/>
              </a:path>
            </a:pathLst>
          </a:custGeom>
          <a:gradFill>
            <a:gsLst>
              <a:gs pos="0">
                <a:srgbClr val="A8524C"/>
              </a:gs>
              <a:gs pos="100000">
                <a:srgbClr val="985154"/>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Freeform 20"/>
          <p:cNvSpPr>
            <a:spLocks/>
          </p:cNvSpPr>
          <p:nvPr userDrawn="1"/>
        </p:nvSpPr>
        <p:spPr bwMode="auto">
          <a:xfrm>
            <a:off x="1117398" y="648476"/>
            <a:ext cx="365303" cy="425605"/>
          </a:xfrm>
          <a:custGeom>
            <a:avLst/>
            <a:gdLst>
              <a:gd name="T0" fmla="*/ 0 w 272"/>
              <a:gd name="T1" fmla="*/ 317 h 317"/>
              <a:gd name="T2" fmla="*/ 272 w 272"/>
              <a:gd name="T3" fmla="*/ 159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9"/>
                </a:lnTo>
                <a:lnTo>
                  <a:pt x="0" y="0"/>
                </a:lnTo>
                <a:lnTo>
                  <a:pt x="0" y="317"/>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5" name="Freeform 21"/>
          <p:cNvSpPr>
            <a:spLocks/>
          </p:cNvSpPr>
          <p:nvPr userDrawn="1"/>
        </p:nvSpPr>
        <p:spPr bwMode="auto">
          <a:xfrm>
            <a:off x="3701382" y="1074080"/>
            <a:ext cx="730607" cy="425605"/>
          </a:xfrm>
          <a:custGeom>
            <a:avLst/>
            <a:gdLst>
              <a:gd name="T0" fmla="*/ 272 w 544"/>
              <a:gd name="T1" fmla="*/ 0 h 317"/>
              <a:gd name="T2" fmla="*/ 0 w 544"/>
              <a:gd name="T3" fmla="*/ 159 h 317"/>
              <a:gd name="T4" fmla="*/ 272 w 544"/>
              <a:gd name="T5" fmla="*/ 317 h 317"/>
              <a:gd name="T6" fmla="*/ 544 w 544"/>
              <a:gd name="T7" fmla="*/ 159 h 317"/>
              <a:gd name="T8" fmla="*/ 272 w 544"/>
              <a:gd name="T9" fmla="*/ 0 h 317"/>
            </a:gdLst>
            <a:ahLst/>
            <a:cxnLst>
              <a:cxn ang="0">
                <a:pos x="T0" y="T1"/>
              </a:cxn>
              <a:cxn ang="0">
                <a:pos x="T2" y="T3"/>
              </a:cxn>
              <a:cxn ang="0">
                <a:pos x="T4" y="T5"/>
              </a:cxn>
              <a:cxn ang="0">
                <a:pos x="T6" y="T7"/>
              </a:cxn>
              <a:cxn ang="0">
                <a:pos x="T8" y="T9"/>
              </a:cxn>
            </a:cxnLst>
            <a:rect l="0" t="0" r="r" b="b"/>
            <a:pathLst>
              <a:path w="544" h="317">
                <a:moveTo>
                  <a:pt x="272" y="0"/>
                </a:moveTo>
                <a:lnTo>
                  <a:pt x="0" y="159"/>
                </a:lnTo>
                <a:lnTo>
                  <a:pt x="272" y="317"/>
                </a:lnTo>
                <a:lnTo>
                  <a:pt x="544" y="159"/>
                </a:lnTo>
                <a:lnTo>
                  <a:pt x="272" y="0"/>
                </a:lnTo>
                <a:close/>
              </a:path>
            </a:pathLst>
          </a:custGeom>
          <a:gradFill>
            <a:gsLst>
              <a:gs pos="0">
                <a:srgbClr val="FEA044"/>
              </a:gs>
              <a:gs pos="100000">
                <a:srgbClr val="FE9842"/>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6" name="Freeform 22"/>
          <p:cNvSpPr>
            <a:spLocks/>
          </p:cNvSpPr>
          <p:nvPr userDrawn="1"/>
        </p:nvSpPr>
        <p:spPr bwMode="auto">
          <a:xfrm>
            <a:off x="735979" y="4285578"/>
            <a:ext cx="365303" cy="425605"/>
          </a:xfrm>
          <a:custGeom>
            <a:avLst/>
            <a:gdLst>
              <a:gd name="T0" fmla="*/ 0 w 272"/>
              <a:gd name="T1" fmla="*/ 317 h 317"/>
              <a:gd name="T2" fmla="*/ 272 w 272"/>
              <a:gd name="T3" fmla="*/ 158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8"/>
                </a:lnTo>
                <a:lnTo>
                  <a:pt x="0" y="0"/>
                </a:lnTo>
                <a:lnTo>
                  <a:pt x="0" y="317"/>
                </a:lnTo>
                <a:close/>
              </a:path>
            </a:pathLst>
          </a:custGeom>
          <a:gradFill>
            <a:gsLst>
              <a:gs pos="0">
                <a:srgbClr val="C45844"/>
              </a:gs>
              <a:gs pos="100000">
                <a:srgbClr val="B1544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7" name="Freeform 23"/>
          <p:cNvSpPr>
            <a:spLocks/>
          </p:cNvSpPr>
          <p:nvPr userDrawn="1"/>
        </p:nvSpPr>
        <p:spPr bwMode="auto">
          <a:xfrm>
            <a:off x="4806694" y="6004106"/>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523E64"/>
              </a:gs>
              <a:gs pos="100000">
                <a:srgbClr val="413A6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8" name="Freeform 24"/>
          <p:cNvSpPr>
            <a:spLocks/>
          </p:cNvSpPr>
          <p:nvPr userDrawn="1"/>
        </p:nvSpPr>
        <p:spPr bwMode="auto">
          <a:xfrm>
            <a:off x="1107998" y="5997393"/>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523E64"/>
              </a:gs>
              <a:gs pos="100000">
                <a:srgbClr val="413A6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9" name="Freeform 25"/>
          <p:cNvSpPr>
            <a:spLocks/>
          </p:cNvSpPr>
          <p:nvPr userDrawn="1"/>
        </p:nvSpPr>
        <p:spPr bwMode="auto">
          <a:xfrm>
            <a:off x="4431989" y="0"/>
            <a:ext cx="365303" cy="639077"/>
          </a:xfrm>
          <a:custGeom>
            <a:avLst/>
            <a:gdLst>
              <a:gd name="T0" fmla="*/ 272 w 272"/>
              <a:gd name="T1" fmla="*/ 476 h 476"/>
              <a:gd name="T2" fmla="*/ 0 w 272"/>
              <a:gd name="T3" fmla="*/ 322 h 476"/>
              <a:gd name="T4" fmla="*/ 0 w 272"/>
              <a:gd name="T5" fmla="*/ 0 h 476"/>
              <a:gd name="T6" fmla="*/ 272 w 272"/>
              <a:gd name="T7" fmla="*/ 159 h 476"/>
              <a:gd name="T8" fmla="*/ 272 w 272"/>
              <a:gd name="T9" fmla="*/ 476 h 476"/>
            </a:gdLst>
            <a:ahLst/>
            <a:cxnLst>
              <a:cxn ang="0">
                <a:pos x="T0" y="T1"/>
              </a:cxn>
              <a:cxn ang="0">
                <a:pos x="T2" y="T3"/>
              </a:cxn>
              <a:cxn ang="0">
                <a:pos x="T4" y="T5"/>
              </a:cxn>
              <a:cxn ang="0">
                <a:pos x="T6" y="T7"/>
              </a:cxn>
              <a:cxn ang="0">
                <a:pos x="T8" y="T9"/>
              </a:cxn>
            </a:cxnLst>
            <a:rect l="0" t="0" r="r" b="b"/>
            <a:pathLst>
              <a:path w="272" h="476">
                <a:moveTo>
                  <a:pt x="272" y="476"/>
                </a:moveTo>
                <a:lnTo>
                  <a:pt x="0" y="322"/>
                </a:lnTo>
                <a:lnTo>
                  <a:pt x="0" y="0"/>
                </a:lnTo>
                <a:lnTo>
                  <a:pt x="272" y="159"/>
                </a:lnTo>
                <a:lnTo>
                  <a:pt x="272" y="476"/>
                </a:lnTo>
                <a:close/>
              </a:path>
            </a:pathLst>
          </a:custGeom>
          <a:gradFill>
            <a:gsLst>
              <a:gs pos="0">
                <a:srgbClr val="FDBB4C"/>
              </a:gs>
              <a:gs pos="100000">
                <a:srgbClr val="FDAE49"/>
              </a:gs>
            </a:gsLst>
            <a:lin ang="5400000" scaled="1"/>
          </a:gradFill>
          <a:ln>
            <a:noFill/>
          </a:ln>
        </p:spPr>
        <p:txBody>
          <a:bodyPr vert="horz" wrap="square" lIns="91440" tIns="45720" rIns="91440" bIns="45720" numCol="1" anchor="t" anchorCtr="0" compatLnSpc="1">
            <a:prstTxWarp prst="textNoShape">
              <a:avLst/>
            </a:prstTxWarp>
          </a:bodyPr>
          <a:lstStyle/>
          <a:p>
            <a:pPr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0" name="Freeform 27"/>
          <p:cNvSpPr>
            <a:spLocks/>
          </p:cNvSpPr>
          <p:nvPr userDrawn="1"/>
        </p:nvSpPr>
        <p:spPr bwMode="auto">
          <a:xfrm>
            <a:off x="1482702" y="436345"/>
            <a:ext cx="365303" cy="635050"/>
          </a:xfrm>
          <a:custGeom>
            <a:avLst/>
            <a:gdLst>
              <a:gd name="T0" fmla="*/ 272 w 272"/>
              <a:gd name="T1" fmla="*/ 158 h 473"/>
              <a:gd name="T2" fmla="*/ 0 w 272"/>
              <a:gd name="T3" fmla="*/ 0 h 473"/>
              <a:gd name="T4" fmla="*/ 0 w 272"/>
              <a:gd name="T5" fmla="*/ 317 h 473"/>
              <a:gd name="T6" fmla="*/ 272 w 272"/>
              <a:gd name="T7" fmla="*/ 473 h 473"/>
              <a:gd name="T8" fmla="*/ 272 w 272"/>
              <a:gd name="T9" fmla="*/ 158 h 473"/>
            </a:gdLst>
            <a:ahLst/>
            <a:cxnLst>
              <a:cxn ang="0">
                <a:pos x="T0" y="T1"/>
              </a:cxn>
              <a:cxn ang="0">
                <a:pos x="T2" y="T3"/>
              </a:cxn>
              <a:cxn ang="0">
                <a:pos x="T4" y="T5"/>
              </a:cxn>
              <a:cxn ang="0">
                <a:pos x="T6" y="T7"/>
              </a:cxn>
              <a:cxn ang="0">
                <a:pos x="T8" y="T9"/>
              </a:cxn>
            </a:cxnLst>
            <a:rect l="0" t="0" r="r" b="b"/>
            <a:pathLst>
              <a:path w="272" h="473">
                <a:moveTo>
                  <a:pt x="272" y="158"/>
                </a:moveTo>
                <a:lnTo>
                  <a:pt x="0" y="0"/>
                </a:lnTo>
                <a:lnTo>
                  <a:pt x="0" y="317"/>
                </a:lnTo>
                <a:lnTo>
                  <a:pt x="272" y="473"/>
                </a:lnTo>
                <a:lnTo>
                  <a:pt x="272" y="158"/>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1" name="Freeform 28"/>
          <p:cNvSpPr>
            <a:spLocks/>
          </p:cNvSpPr>
          <p:nvPr userDrawn="1"/>
        </p:nvSpPr>
        <p:spPr bwMode="auto">
          <a:xfrm>
            <a:off x="5171997" y="648476"/>
            <a:ext cx="729264" cy="641763"/>
          </a:xfrm>
          <a:custGeom>
            <a:avLst/>
            <a:gdLst>
              <a:gd name="T0" fmla="*/ 272 w 543"/>
              <a:gd name="T1" fmla="*/ 0 h 478"/>
              <a:gd name="T2" fmla="*/ 0 w 543"/>
              <a:gd name="T3" fmla="*/ 159 h 478"/>
              <a:gd name="T4" fmla="*/ 0 w 543"/>
              <a:gd name="T5" fmla="*/ 478 h 478"/>
              <a:gd name="T6" fmla="*/ 272 w 543"/>
              <a:gd name="T7" fmla="*/ 319 h 478"/>
              <a:gd name="T8" fmla="*/ 543 w 543"/>
              <a:gd name="T9" fmla="*/ 159 h 478"/>
              <a:gd name="T10" fmla="*/ 272 w 543"/>
              <a:gd name="T11" fmla="*/ 0 h 478"/>
            </a:gdLst>
            <a:ahLst/>
            <a:cxnLst>
              <a:cxn ang="0">
                <a:pos x="T0" y="T1"/>
              </a:cxn>
              <a:cxn ang="0">
                <a:pos x="T2" y="T3"/>
              </a:cxn>
              <a:cxn ang="0">
                <a:pos x="T4" y="T5"/>
              </a:cxn>
              <a:cxn ang="0">
                <a:pos x="T6" y="T7"/>
              </a:cxn>
              <a:cxn ang="0">
                <a:pos x="T8" y="T9"/>
              </a:cxn>
              <a:cxn ang="0">
                <a:pos x="T10" y="T11"/>
              </a:cxn>
            </a:cxnLst>
            <a:rect l="0" t="0" r="r" b="b"/>
            <a:pathLst>
              <a:path w="543" h="478">
                <a:moveTo>
                  <a:pt x="272" y="0"/>
                </a:moveTo>
                <a:lnTo>
                  <a:pt x="0" y="159"/>
                </a:lnTo>
                <a:lnTo>
                  <a:pt x="0" y="478"/>
                </a:lnTo>
                <a:lnTo>
                  <a:pt x="272" y="319"/>
                </a:lnTo>
                <a:lnTo>
                  <a:pt x="543" y="159"/>
                </a:lnTo>
                <a:lnTo>
                  <a:pt x="272" y="0"/>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2" name="Freeform 29"/>
          <p:cNvSpPr>
            <a:spLocks/>
          </p:cNvSpPr>
          <p:nvPr userDrawn="1"/>
        </p:nvSpPr>
        <p:spPr bwMode="auto">
          <a:xfrm>
            <a:off x="4066686" y="2360290"/>
            <a:ext cx="730607" cy="641763"/>
          </a:xfrm>
          <a:custGeom>
            <a:avLst/>
            <a:gdLst>
              <a:gd name="T0" fmla="*/ 272 w 544"/>
              <a:gd name="T1" fmla="*/ 478 h 478"/>
              <a:gd name="T2" fmla="*/ 0 w 544"/>
              <a:gd name="T3" fmla="*/ 320 h 478"/>
              <a:gd name="T4" fmla="*/ 0 w 544"/>
              <a:gd name="T5" fmla="*/ 0 h 478"/>
              <a:gd name="T6" fmla="*/ 272 w 544"/>
              <a:gd name="T7" fmla="*/ 159 h 478"/>
              <a:gd name="T8" fmla="*/ 544 w 544"/>
              <a:gd name="T9" fmla="*/ 320 h 478"/>
              <a:gd name="T10" fmla="*/ 272 w 544"/>
              <a:gd name="T11" fmla="*/ 478 h 478"/>
            </a:gdLst>
            <a:ahLst/>
            <a:cxnLst>
              <a:cxn ang="0">
                <a:pos x="T0" y="T1"/>
              </a:cxn>
              <a:cxn ang="0">
                <a:pos x="T2" y="T3"/>
              </a:cxn>
              <a:cxn ang="0">
                <a:pos x="T4" y="T5"/>
              </a:cxn>
              <a:cxn ang="0">
                <a:pos x="T6" y="T7"/>
              </a:cxn>
              <a:cxn ang="0">
                <a:pos x="T8" y="T9"/>
              </a:cxn>
              <a:cxn ang="0">
                <a:pos x="T10" y="T11"/>
              </a:cxn>
            </a:cxnLst>
            <a:rect l="0" t="0" r="r" b="b"/>
            <a:pathLst>
              <a:path w="544" h="478">
                <a:moveTo>
                  <a:pt x="272" y="478"/>
                </a:moveTo>
                <a:lnTo>
                  <a:pt x="0" y="320"/>
                </a:lnTo>
                <a:lnTo>
                  <a:pt x="0" y="0"/>
                </a:lnTo>
                <a:lnTo>
                  <a:pt x="272" y="159"/>
                </a:lnTo>
                <a:lnTo>
                  <a:pt x="544" y="320"/>
                </a:lnTo>
                <a:lnTo>
                  <a:pt x="272" y="478"/>
                </a:lnTo>
                <a:close/>
              </a:path>
            </a:pathLst>
          </a:custGeom>
          <a:gradFill>
            <a:gsLst>
              <a:gs pos="0">
                <a:srgbClr val="FE7F3A"/>
              </a:gs>
              <a:gs pos="100000">
                <a:srgbClr val="FF6D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3" name="Picture Placeholder 37">
            <a:extLst>
              <a:ext uri="{FF2B5EF4-FFF2-40B4-BE49-F238E27FC236}">
                <a16:creationId xmlns:a16="http://schemas.microsoft.com/office/drawing/2014/main" id="{B27FB25A-25C1-1145-91A1-08CB3FC40AE3}"/>
              </a:ext>
            </a:extLst>
          </p:cNvPr>
          <p:cNvSpPr>
            <a:spLocks noGrp="1"/>
          </p:cNvSpPr>
          <p:nvPr>
            <p:ph type="pic" sz="quarter" idx="10"/>
          </p:nvPr>
        </p:nvSpPr>
        <p:spPr>
          <a:xfrm>
            <a:off x="2" y="0"/>
            <a:ext cx="7121235" cy="6857999"/>
          </a:xfrm>
          <a:custGeom>
            <a:avLst/>
            <a:gdLst>
              <a:gd name="connsiteX0" fmla="*/ 1467955 w 7121235"/>
              <a:gd name="connsiteY0" fmla="*/ 6003620 h 6857999"/>
              <a:gd name="connsiteX1" fmla="*/ 1113343 w 7121235"/>
              <a:gd name="connsiteY1" fmla="*/ 6209544 h 6857999"/>
              <a:gd name="connsiteX2" fmla="*/ 1467955 w 7121235"/>
              <a:gd name="connsiteY2" fmla="*/ 6416770 h 6857999"/>
              <a:gd name="connsiteX3" fmla="*/ 4431990 w 7121235"/>
              <a:gd name="connsiteY3" fmla="*/ 5571788 h 6857999"/>
              <a:gd name="connsiteX4" fmla="*/ 4797292 w 7121235"/>
              <a:gd name="connsiteY4" fmla="*/ 5783919 h 6857999"/>
              <a:gd name="connsiteX5" fmla="*/ 4431990 w 7121235"/>
              <a:gd name="connsiteY5" fmla="*/ 5997393 h 6857999"/>
              <a:gd name="connsiteX6" fmla="*/ 370677 w 7121235"/>
              <a:gd name="connsiteY6" fmla="*/ 4927340 h 6857999"/>
              <a:gd name="connsiteX7" fmla="*/ 370677 w 7121235"/>
              <a:gd name="connsiteY7" fmla="*/ 5352945 h 6857999"/>
              <a:gd name="connsiteX8" fmla="*/ 2688 w 7121235"/>
              <a:gd name="connsiteY8" fmla="*/ 5139471 h 6857999"/>
              <a:gd name="connsiteX9" fmla="*/ 4434628 w 7121235"/>
              <a:gd name="connsiteY9" fmla="*/ 4724122 h 6857999"/>
              <a:gd name="connsiteX10" fmla="*/ 4434628 w 7121235"/>
              <a:gd name="connsiteY10" fmla="*/ 5137272 h 6857999"/>
              <a:gd name="connsiteX11" fmla="*/ 4787938 w 7121235"/>
              <a:gd name="connsiteY11" fmla="*/ 4930046 h 6857999"/>
              <a:gd name="connsiteX12" fmla="*/ 4812039 w 7121235"/>
              <a:gd name="connsiteY12" fmla="*/ 4078332 h 6857999"/>
              <a:gd name="connsiteX13" fmla="*/ 4812039 w 7121235"/>
              <a:gd name="connsiteY13" fmla="*/ 4491482 h 6857999"/>
              <a:gd name="connsiteX14" fmla="*/ 5166651 w 7121235"/>
              <a:gd name="connsiteY14" fmla="*/ 4285559 h 6857999"/>
              <a:gd name="connsiteX15" fmla="*/ 6275966 w 7121235"/>
              <a:gd name="connsiteY15" fmla="*/ 3218212 h 6857999"/>
              <a:gd name="connsiteX16" fmla="*/ 6275966 w 7121235"/>
              <a:gd name="connsiteY16" fmla="*/ 3643816 h 6857999"/>
              <a:gd name="connsiteX17" fmla="*/ 5912006 w 7121235"/>
              <a:gd name="connsiteY17" fmla="*/ 3430342 h 6857999"/>
              <a:gd name="connsiteX18" fmla="*/ 370677 w 7121235"/>
              <a:gd name="connsiteY18" fmla="*/ 3218212 h 6857999"/>
              <a:gd name="connsiteX19" fmla="*/ 735980 w 7121235"/>
              <a:gd name="connsiteY19" fmla="*/ 3430342 h 6857999"/>
              <a:gd name="connsiteX20" fmla="*/ 735980 w 7121235"/>
              <a:gd name="connsiteY20" fmla="*/ 4285578 h 6857999"/>
              <a:gd name="connsiteX21" fmla="*/ 370677 w 7121235"/>
              <a:gd name="connsiteY21" fmla="*/ 4076133 h 6857999"/>
              <a:gd name="connsiteX22" fmla="*/ 1481333 w 7121235"/>
              <a:gd name="connsiteY22" fmla="*/ 2579992 h 6857999"/>
              <a:gd name="connsiteX23" fmla="*/ 1481333 w 7121235"/>
              <a:gd name="connsiteY23" fmla="*/ 2993142 h 6857999"/>
              <a:gd name="connsiteX24" fmla="*/ 1835945 w 7121235"/>
              <a:gd name="connsiteY24" fmla="*/ 2785915 h 6857999"/>
              <a:gd name="connsiteX25" fmla="*/ 4077377 w 7121235"/>
              <a:gd name="connsiteY25" fmla="*/ 2369681 h 6857999"/>
              <a:gd name="connsiteX26" fmla="*/ 4077377 w 7121235"/>
              <a:gd name="connsiteY26" fmla="*/ 2786739 h 6857999"/>
              <a:gd name="connsiteX27" fmla="*/ 4431989 w 7121235"/>
              <a:gd name="connsiteY27" fmla="*/ 2992661 h 6857999"/>
              <a:gd name="connsiteX28" fmla="*/ 4786601 w 7121235"/>
              <a:gd name="connsiteY28" fmla="*/ 2786739 h 6857999"/>
              <a:gd name="connsiteX29" fmla="*/ 4431989 w 7121235"/>
              <a:gd name="connsiteY29" fmla="*/ 2576907 h 6857999"/>
              <a:gd name="connsiteX30" fmla="*/ 1102652 w 7121235"/>
              <a:gd name="connsiteY30" fmla="*/ 1508656 h 6857999"/>
              <a:gd name="connsiteX31" fmla="*/ 748040 w 7121235"/>
              <a:gd name="connsiteY31" fmla="*/ 1718488 h 6857999"/>
              <a:gd name="connsiteX32" fmla="*/ 1102652 w 7121235"/>
              <a:gd name="connsiteY32" fmla="*/ 1925714 h 6857999"/>
              <a:gd name="connsiteX33" fmla="*/ 5171998 w 7121235"/>
              <a:gd name="connsiteY33" fmla="*/ 1290240 h 6857999"/>
              <a:gd name="connsiteX34" fmla="*/ 5537301 w 7121235"/>
              <a:gd name="connsiteY34" fmla="*/ 1502371 h 6857999"/>
              <a:gd name="connsiteX35" fmla="*/ 5171998 w 7121235"/>
              <a:gd name="connsiteY35" fmla="*/ 1715844 h 6857999"/>
              <a:gd name="connsiteX36" fmla="*/ 4066685 w 7121235"/>
              <a:gd name="connsiteY36" fmla="*/ 1080308 h 6857999"/>
              <a:gd name="connsiteX37" fmla="*/ 3712073 w 7121235"/>
              <a:gd name="connsiteY37" fmla="*/ 1287534 h 6857999"/>
              <a:gd name="connsiteX38" fmla="*/ 4066685 w 7121235"/>
              <a:gd name="connsiteY38" fmla="*/ 1493458 h 6857999"/>
              <a:gd name="connsiteX39" fmla="*/ 4421297 w 7121235"/>
              <a:gd name="connsiteY39" fmla="*/ 1287534 h 6857999"/>
              <a:gd name="connsiteX40" fmla="*/ 1122744 w 7121235"/>
              <a:gd name="connsiteY40" fmla="*/ 654703 h 6857999"/>
              <a:gd name="connsiteX41" fmla="*/ 1122744 w 7121235"/>
              <a:gd name="connsiteY41" fmla="*/ 1067854 h 6857999"/>
              <a:gd name="connsiteX42" fmla="*/ 1477356 w 7121235"/>
              <a:gd name="connsiteY42" fmla="*/ 861930 h 6857999"/>
              <a:gd name="connsiteX43" fmla="*/ 370677 w 7121235"/>
              <a:gd name="connsiteY43" fmla="*/ 645792 h 6857999"/>
              <a:gd name="connsiteX44" fmla="*/ 735980 w 7121235"/>
              <a:gd name="connsiteY44" fmla="*/ 857923 h 6857999"/>
              <a:gd name="connsiteX45" fmla="*/ 370677 w 7121235"/>
              <a:gd name="connsiteY45" fmla="*/ 1071397 h 6857999"/>
              <a:gd name="connsiteX46" fmla="*/ 1488047 w 7121235"/>
              <a:gd name="connsiteY46" fmla="*/ 445638 h 6857999"/>
              <a:gd name="connsiteX47" fmla="*/ 1488047 w 7121235"/>
              <a:gd name="connsiteY47" fmla="*/ 858785 h 6857999"/>
              <a:gd name="connsiteX48" fmla="*/ 1842659 w 7121235"/>
              <a:gd name="connsiteY48" fmla="*/ 1062100 h 6857999"/>
              <a:gd name="connsiteX49" fmla="*/ 1842659 w 7121235"/>
              <a:gd name="connsiteY49" fmla="*/ 651560 h 6857999"/>
              <a:gd name="connsiteX50" fmla="*/ 2 w 7121235"/>
              <a:gd name="connsiteY50" fmla="*/ 1 h 6857999"/>
              <a:gd name="connsiteX51" fmla="*/ 2 w 7121235"/>
              <a:gd name="connsiteY51" fmla="*/ 4285577 h 6857999"/>
              <a:gd name="connsiteX52" fmla="*/ 2 w 7121235"/>
              <a:gd name="connsiteY52" fmla="*/ 4292290 h 6857999"/>
              <a:gd name="connsiteX53" fmla="*/ 365306 w 7121235"/>
              <a:gd name="connsiteY53" fmla="*/ 4504421 h 6857999"/>
              <a:gd name="connsiteX54" fmla="*/ 2 w 7121235"/>
              <a:gd name="connsiteY54" fmla="*/ 4717894 h 6857999"/>
              <a:gd name="connsiteX55" fmla="*/ 2 w 7121235"/>
              <a:gd name="connsiteY55" fmla="*/ 6857998 h 6857999"/>
              <a:gd name="connsiteX56" fmla="*/ 738668 w 7121235"/>
              <a:gd name="connsiteY56" fmla="*/ 6857998 h 6857999"/>
              <a:gd name="connsiteX57" fmla="*/ 738668 w 7121235"/>
              <a:gd name="connsiteY57" fmla="*/ 6425681 h 6857999"/>
              <a:gd name="connsiteX58" fmla="*/ 367992 w 7121235"/>
              <a:gd name="connsiteY58" fmla="*/ 6641840 h 6857999"/>
              <a:gd name="connsiteX59" fmla="*/ 367992 w 7121235"/>
              <a:gd name="connsiteY59" fmla="*/ 6216236 h 6857999"/>
              <a:gd name="connsiteX60" fmla="*/ 1108000 w 7121235"/>
              <a:gd name="connsiteY60" fmla="*/ 5783919 h 6857999"/>
              <a:gd name="connsiteX61" fmla="*/ 1108000 w 7121235"/>
              <a:gd name="connsiteY61" fmla="*/ 2789923 h 6857999"/>
              <a:gd name="connsiteX62" fmla="*/ 735981 w 7121235"/>
              <a:gd name="connsiteY62" fmla="*/ 2573765 h 6857999"/>
              <a:gd name="connsiteX63" fmla="*/ 735981 w 7121235"/>
              <a:gd name="connsiteY63" fmla="*/ 2141448 h 6857999"/>
              <a:gd name="connsiteX64" fmla="*/ 367992 w 7121235"/>
              <a:gd name="connsiteY64" fmla="*/ 1927974 h 6857999"/>
              <a:gd name="connsiteX65" fmla="*/ 367992 w 7121235"/>
              <a:gd name="connsiteY65" fmla="*/ 1499685 h 6857999"/>
              <a:gd name="connsiteX66" fmla="*/ 738668 w 7121235"/>
              <a:gd name="connsiteY66" fmla="*/ 1287554 h 6857999"/>
              <a:gd name="connsiteX67" fmla="*/ 738668 w 7121235"/>
              <a:gd name="connsiteY67" fmla="*/ 1 h 6857999"/>
              <a:gd name="connsiteX68" fmla="*/ 735981 w 7121235"/>
              <a:gd name="connsiteY68" fmla="*/ 1 h 6857999"/>
              <a:gd name="connsiteX69" fmla="*/ 0 w 7121235"/>
              <a:gd name="connsiteY69" fmla="*/ 0 h 6857999"/>
              <a:gd name="connsiteX70" fmla="*/ 7121235 w 7121235"/>
              <a:gd name="connsiteY70" fmla="*/ 0 h 6857999"/>
              <a:gd name="connsiteX71" fmla="*/ 7121235 w 7121235"/>
              <a:gd name="connsiteY71" fmla="*/ 1 h 6857999"/>
              <a:gd name="connsiteX72" fmla="*/ 2958692 w 7121235"/>
              <a:gd name="connsiteY72" fmla="*/ 1 h 6857999"/>
              <a:gd name="connsiteX73" fmla="*/ 4431990 w 7121235"/>
              <a:gd name="connsiteY73" fmla="*/ 857922 h 6857999"/>
              <a:gd name="connsiteX74" fmla="*/ 4431990 w 7121235"/>
              <a:gd name="connsiteY74" fmla="*/ 1292925 h 6857999"/>
              <a:gd name="connsiteX75" fmla="*/ 4793265 w 7121235"/>
              <a:gd name="connsiteY75" fmla="*/ 1502370 h 6857999"/>
              <a:gd name="connsiteX76" fmla="*/ 4793265 w 7121235"/>
              <a:gd name="connsiteY76" fmla="*/ 1934687 h 6857999"/>
              <a:gd name="connsiteX77" fmla="*/ 5165283 w 7121235"/>
              <a:gd name="connsiteY77" fmla="*/ 2148161 h 6857999"/>
              <a:gd name="connsiteX78" fmla="*/ 5165283 w 7121235"/>
              <a:gd name="connsiteY78" fmla="*/ 3427657 h 6857999"/>
              <a:gd name="connsiteX79" fmla="*/ 5537301 w 7121235"/>
              <a:gd name="connsiteY79" fmla="*/ 3641129 h 6857999"/>
              <a:gd name="connsiteX80" fmla="*/ 5537301 w 7121235"/>
              <a:gd name="connsiteY80" fmla="*/ 4927340 h 6857999"/>
              <a:gd name="connsiteX81" fmla="*/ 3691984 w 7121235"/>
              <a:gd name="connsiteY81" fmla="*/ 6000077 h 6857999"/>
              <a:gd name="connsiteX82" fmla="*/ 3691984 w 7121235"/>
              <a:gd name="connsiteY82" fmla="*/ 6848600 h 6857999"/>
              <a:gd name="connsiteX83" fmla="*/ 3691984 w 7121235"/>
              <a:gd name="connsiteY83" fmla="*/ 6857998 h 6857999"/>
              <a:gd name="connsiteX84" fmla="*/ 4431990 w 7121235"/>
              <a:gd name="connsiteY84" fmla="*/ 6857998 h 6857999"/>
              <a:gd name="connsiteX85" fmla="*/ 4431990 w 7121235"/>
              <a:gd name="connsiteY85" fmla="*/ 6429709 h 6857999"/>
              <a:gd name="connsiteX86" fmla="*/ 4797292 w 7121235"/>
              <a:gd name="connsiteY86" fmla="*/ 6641840 h 6857999"/>
              <a:gd name="connsiteX87" fmla="*/ 4431992 w 7121235"/>
              <a:gd name="connsiteY87" fmla="*/ 6857998 h 6857999"/>
              <a:gd name="connsiteX88" fmla="*/ 7121235 w 7121235"/>
              <a:gd name="connsiteY88" fmla="*/ 6857998 h 6857999"/>
              <a:gd name="connsiteX89" fmla="*/ 7121235 w 7121235"/>
              <a:gd name="connsiteY89" fmla="*/ 6857999 h 6857999"/>
              <a:gd name="connsiteX90" fmla="*/ 0 w 7121235"/>
              <a:gd name="connsiteY9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21235" h="6857999">
                <a:moveTo>
                  <a:pt x="1467955" y="6003620"/>
                </a:moveTo>
                <a:lnTo>
                  <a:pt x="1113343" y="6209544"/>
                </a:lnTo>
                <a:lnTo>
                  <a:pt x="1467955" y="6416770"/>
                </a:lnTo>
                <a:close/>
                <a:moveTo>
                  <a:pt x="4431990" y="5571788"/>
                </a:moveTo>
                <a:lnTo>
                  <a:pt x="4797292" y="5783919"/>
                </a:lnTo>
                <a:lnTo>
                  <a:pt x="4431990" y="5997393"/>
                </a:lnTo>
                <a:close/>
                <a:moveTo>
                  <a:pt x="370677" y="4927340"/>
                </a:moveTo>
                <a:lnTo>
                  <a:pt x="370677" y="5352945"/>
                </a:lnTo>
                <a:lnTo>
                  <a:pt x="2688" y="5139471"/>
                </a:lnTo>
                <a:close/>
                <a:moveTo>
                  <a:pt x="4434628" y="4724122"/>
                </a:moveTo>
                <a:lnTo>
                  <a:pt x="4434628" y="5137272"/>
                </a:lnTo>
                <a:lnTo>
                  <a:pt x="4787938" y="4930046"/>
                </a:lnTo>
                <a:close/>
                <a:moveTo>
                  <a:pt x="4812039" y="4078332"/>
                </a:moveTo>
                <a:lnTo>
                  <a:pt x="4812039" y="4491482"/>
                </a:lnTo>
                <a:lnTo>
                  <a:pt x="5166651" y="4285559"/>
                </a:lnTo>
                <a:close/>
                <a:moveTo>
                  <a:pt x="6275966" y="3218212"/>
                </a:moveTo>
                <a:lnTo>
                  <a:pt x="6275966" y="3643816"/>
                </a:lnTo>
                <a:lnTo>
                  <a:pt x="5912006" y="3430342"/>
                </a:lnTo>
                <a:close/>
                <a:moveTo>
                  <a:pt x="370677" y="3218212"/>
                </a:moveTo>
                <a:lnTo>
                  <a:pt x="735980" y="3430342"/>
                </a:lnTo>
                <a:lnTo>
                  <a:pt x="735980" y="4285578"/>
                </a:lnTo>
                <a:lnTo>
                  <a:pt x="370677" y="4076133"/>
                </a:lnTo>
                <a:close/>
                <a:moveTo>
                  <a:pt x="1481333" y="2579992"/>
                </a:moveTo>
                <a:lnTo>
                  <a:pt x="1481333" y="2993142"/>
                </a:lnTo>
                <a:lnTo>
                  <a:pt x="1835945" y="2785915"/>
                </a:lnTo>
                <a:close/>
                <a:moveTo>
                  <a:pt x="4077377" y="2369681"/>
                </a:moveTo>
                <a:lnTo>
                  <a:pt x="4077377" y="2786739"/>
                </a:lnTo>
                <a:lnTo>
                  <a:pt x="4431989" y="2992661"/>
                </a:lnTo>
                <a:lnTo>
                  <a:pt x="4786601" y="2786739"/>
                </a:lnTo>
                <a:lnTo>
                  <a:pt x="4431989" y="2576907"/>
                </a:lnTo>
                <a:close/>
                <a:moveTo>
                  <a:pt x="1102652" y="1508656"/>
                </a:moveTo>
                <a:lnTo>
                  <a:pt x="748040" y="1718488"/>
                </a:lnTo>
                <a:lnTo>
                  <a:pt x="1102652" y="1925714"/>
                </a:lnTo>
                <a:close/>
                <a:moveTo>
                  <a:pt x="5171998" y="1290240"/>
                </a:moveTo>
                <a:lnTo>
                  <a:pt x="5537301" y="1502371"/>
                </a:lnTo>
                <a:lnTo>
                  <a:pt x="5171998" y="1715844"/>
                </a:lnTo>
                <a:close/>
                <a:moveTo>
                  <a:pt x="4066685" y="1080308"/>
                </a:moveTo>
                <a:lnTo>
                  <a:pt x="3712073" y="1287534"/>
                </a:lnTo>
                <a:lnTo>
                  <a:pt x="4066685" y="1493458"/>
                </a:lnTo>
                <a:lnTo>
                  <a:pt x="4421297" y="1287534"/>
                </a:lnTo>
                <a:close/>
                <a:moveTo>
                  <a:pt x="1122744" y="654703"/>
                </a:moveTo>
                <a:lnTo>
                  <a:pt x="1122744" y="1067854"/>
                </a:lnTo>
                <a:lnTo>
                  <a:pt x="1477356" y="861930"/>
                </a:lnTo>
                <a:close/>
                <a:moveTo>
                  <a:pt x="370677" y="645792"/>
                </a:moveTo>
                <a:lnTo>
                  <a:pt x="735980" y="857923"/>
                </a:lnTo>
                <a:lnTo>
                  <a:pt x="370677" y="1071397"/>
                </a:lnTo>
                <a:close/>
                <a:moveTo>
                  <a:pt x="1488047" y="445638"/>
                </a:moveTo>
                <a:lnTo>
                  <a:pt x="1488047" y="858785"/>
                </a:lnTo>
                <a:lnTo>
                  <a:pt x="1842659" y="1062100"/>
                </a:lnTo>
                <a:lnTo>
                  <a:pt x="1842659" y="651560"/>
                </a:lnTo>
                <a:close/>
                <a:moveTo>
                  <a:pt x="2" y="1"/>
                </a:moveTo>
                <a:lnTo>
                  <a:pt x="2" y="4285577"/>
                </a:lnTo>
                <a:lnTo>
                  <a:pt x="2" y="4292290"/>
                </a:lnTo>
                <a:lnTo>
                  <a:pt x="365306" y="4504421"/>
                </a:lnTo>
                <a:lnTo>
                  <a:pt x="2" y="4717894"/>
                </a:lnTo>
                <a:lnTo>
                  <a:pt x="2" y="6857998"/>
                </a:lnTo>
                <a:lnTo>
                  <a:pt x="738668" y="6857998"/>
                </a:lnTo>
                <a:lnTo>
                  <a:pt x="738668" y="6425681"/>
                </a:lnTo>
                <a:lnTo>
                  <a:pt x="367992" y="6641840"/>
                </a:lnTo>
                <a:lnTo>
                  <a:pt x="367992" y="6216236"/>
                </a:lnTo>
                <a:lnTo>
                  <a:pt x="1108000" y="5783919"/>
                </a:lnTo>
                <a:lnTo>
                  <a:pt x="1108000" y="2789923"/>
                </a:lnTo>
                <a:lnTo>
                  <a:pt x="735981" y="2573765"/>
                </a:lnTo>
                <a:lnTo>
                  <a:pt x="735981" y="2141448"/>
                </a:lnTo>
                <a:lnTo>
                  <a:pt x="367992" y="1927974"/>
                </a:lnTo>
                <a:lnTo>
                  <a:pt x="367992" y="1499685"/>
                </a:lnTo>
                <a:lnTo>
                  <a:pt x="738668" y="1287554"/>
                </a:lnTo>
                <a:lnTo>
                  <a:pt x="738668" y="1"/>
                </a:lnTo>
                <a:lnTo>
                  <a:pt x="735981" y="1"/>
                </a:lnTo>
                <a:close/>
                <a:moveTo>
                  <a:pt x="0" y="0"/>
                </a:moveTo>
                <a:lnTo>
                  <a:pt x="7121235" y="0"/>
                </a:lnTo>
                <a:lnTo>
                  <a:pt x="7121235" y="1"/>
                </a:lnTo>
                <a:lnTo>
                  <a:pt x="2958692" y="1"/>
                </a:lnTo>
                <a:lnTo>
                  <a:pt x="4431990" y="857922"/>
                </a:lnTo>
                <a:lnTo>
                  <a:pt x="4431990" y="1292925"/>
                </a:lnTo>
                <a:lnTo>
                  <a:pt x="4793265" y="1502370"/>
                </a:lnTo>
                <a:lnTo>
                  <a:pt x="4793265" y="1934687"/>
                </a:lnTo>
                <a:lnTo>
                  <a:pt x="5165283" y="2148161"/>
                </a:lnTo>
                <a:lnTo>
                  <a:pt x="5165283" y="3427657"/>
                </a:lnTo>
                <a:lnTo>
                  <a:pt x="5537301" y="3641129"/>
                </a:lnTo>
                <a:lnTo>
                  <a:pt x="5537301" y="4927340"/>
                </a:lnTo>
                <a:lnTo>
                  <a:pt x="3691984" y="6000077"/>
                </a:lnTo>
                <a:lnTo>
                  <a:pt x="3691984" y="6848600"/>
                </a:lnTo>
                <a:lnTo>
                  <a:pt x="3691984" y="6857998"/>
                </a:lnTo>
                <a:lnTo>
                  <a:pt x="4431990" y="6857998"/>
                </a:lnTo>
                <a:lnTo>
                  <a:pt x="4431990" y="6429709"/>
                </a:lnTo>
                <a:lnTo>
                  <a:pt x="4797292" y="6641840"/>
                </a:lnTo>
                <a:lnTo>
                  <a:pt x="4431992" y="6857998"/>
                </a:lnTo>
                <a:lnTo>
                  <a:pt x="7121235" y="6857998"/>
                </a:lnTo>
                <a:lnTo>
                  <a:pt x="7121235" y="6857999"/>
                </a:lnTo>
                <a:lnTo>
                  <a:pt x="0" y="6857999"/>
                </a:lnTo>
                <a:close/>
              </a:path>
            </a:pathLst>
          </a:custGeom>
        </p:spPr>
        <p:txBody>
          <a:bodyPr wrap="square">
            <a:noAutofit/>
          </a:bodyPr>
          <a:lstStyle>
            <a:lvl1pPr marL="0" indent="0">
              <a:buNone/>
              <a:defRPr sz="120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to add picture</a:t>
            </a:r>
            <a:endParaRPr lang="ar-SA"/>
          </a:p>
        </p:txBody>
      </p:sp>
      <p:sp>
        <p:nvSpPr>
          <p:cNvPr id="34" name="Title 1">
            <a:extLst>
              <a:ext uri="{FF2B5EF4-FFF2-40B4-BE49-F238E27FC236}">
                <a16:creationId xmlns:a16="http://schemas.microsoft.com/office/drawing/2014/main" id="{31BBA778-64E4-9C4C-8806-1A8C377A972B}"/>
              </a:ext>
            </a:extLst>
          </p:cNvPr>
          <p:cNvSpPr>
            <a:spLocks noGrp="1"/>
          </p:cNvSpPr>
          <p:nvPr>
            <p:ph type="title" hasCustomPrompt="1"/>
          </p:nvPr>
        </p:nvSpPr>
        <p:spPr>
          <a:xfrm>
            <a:off x="7799185" y="1658320"/>
            <a:ext cx="3179763" cy="1913364"/>
          </a:xfrm>
        </p:spPr>
        <p:txBody>
          <a:bodyPr lIns="0" tIns="0" rIns="0" bIns="0" anchor="b">
            <a:noAutofit/>
          </a:bodyPr>
          <a:lstStyle>
            <a:lvl1pPr>
              <a:defRPr sz="4400" b="1">
                <a:latin typeface="Arial" panose="020B0604020202020204" pitchFamily="34" charset="0"/>
                <a:ea typeface="+mj-ea"/>
                <a:cs typeface="Arial" panose="020B0604020202020204" pitchFamily="34" charset="0"/>
                <a:sym typeface="Arial" panose="020B0604020202020204" pitchFamily="34" charset="0"/>
              </a:defRPr>
            </a:lvl1pPr>
          </a:lstStyle>
          <a:p>
            <a:r>
              <a:rPr lang="en-US"/>
              <a:t>Divider title goes here</a:t>
            </a:r>
            <a:endParaRPr lang="ar-SA"/>
          </a:p>
        </p:txBody>
      </p:sp>
      <p:sp>
        <p:nvSpPr>
          <p:cNvPr id="35" name="Text Placeholder 2">
            <a:extLst>
              <a:ext uri="{FF2B5EF4-FFF2-40B4-BE49-F238E27FC236}">
                <a16:creationId xmlns:a16="http://schemas.microsoft.com/office/drawing/2014/main" id="{F91C9796-CB07-194B-B62D-8AC12B657E13}"/>
              </a:ext>
            </a:extLst>
          </p:cNvPr>
          <p:cNvSpPr>
            <a:spLocks noGrp="1"/>
          </p:cNvSpPr>
          <p:nvPr>
            <p:ph type="body" idx="1" hasCustomPrompt="1"/>
          </p:nvPr>
        </p:nvSpPr>
        <p:spPr>
          <a:xfrm>
            <a:off x="7799184" y="3768851"/>
            <a:ext cx="3179763" cy="1140182"/>
          </a:xfrm>
        </p:spPr>
        <p:txBody>
          <a:bodyPr lIns="0" tIns="0" rIns="0" bIns="0">
            <a:noAutofit/>
          </a:bodyPr>
          <a:lstStyle>
            <a:lvl1pPr marL="0" indent="0">
              <a:buNone/>
              <a:defRPr sz="20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Tree>
    <p:extLst>
      <p:ext uri="{BB962C8B-B14F-4D97-AF65-F5344CB8AC3E}">
        <p14:creationId xmlns:p14="http://schemas.microsoft.com/office/powerpoint/2010/main" val="3943089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tent slide with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3516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68"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985D392-8695-4E80-ACA0-E9368BC8B06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reeform 9"/>
          <p:cNvSpPr>
            <a:spLocks/>
          </p:cNvSpPr>
          <p:nvPr userDrawn="1"/>
        </p:nvSpPr>
        <p:spPr bwMode="auto">
          <a:xfrm>
            <a:off x="-1" y="-1"/>
            <a:ext cx="12197674" cy="6858000"/>
          </a:xfrm>
          <a:custGeom>
            <a:avLst/>
            <a:gdLst>
              <a:gd name="connsiteX0" fmla="*/ 4065892 w 12197674"/>
              <a:gd name="connsiteY0" fmla="*/ 5358485 h 6858000"/>
              <a:gd name="connsiteX1" fmla="*/ 3700420 w 12197674"/>
              <a:gd name="connsiteY1" fmla="*/ 5570782 h 6858000"/>
              <a:gd name="connsiteX2" fmla="*/ 4065892 w 12197674"/>
              <a:gd name="connsiteY2" fmla="*/ 5784423 h 6858000"/>
              <a:gd name="connsiteX3" fmla="*/ 4436741 w 12197674"/>
              <a:gd name="connsiteY3" fmla="*/ 3431688 h 6858000"/>
              <a:gd name="connsiteX4" fmla="*/ 4068580 w 12197674"/>
              <a:gd name="connsiteY4" fmla="*/ 3645329 h 6858000"/>
              <a:gd name="connsiteX5" fmla="*/ 4436741 w 12197674"/>
              <a:gd name="connsiteY5" fmla="*/ 3857626 h 6858000"/>
              <a:gd name="connsiteX6" fmla="*/ 4802214 w 12197674"/>
              <a:gd name="connsiteY6" fmla="*/ 3645329 h 6858000"/>
              <a:gd name="connsiteX7" fmla="*/ 0 w 12197674"/>
              <a:gd name="connsiteY7" fmla="*/ 854563 h 6858000"/>
              <a:gd name="connsiteX8" fmla="*/ 370849 w 12197674"/>
              <a:gd name="connsiteY8" fmla="*/ 1068204 h 6858000"/>
              <a:gd name="connsiteX9" fmla="*/ 368162 w 12197674"/>
              <a:gd name="connsiteY9" fmla="*/ 1499516 h 6858000"/>
              <a:gd name="connsiteX10" fmla="*/ 739010 w 12197674"/>
              <a:gd name="connsiteY10" fmla="*/ 1713157 h 6858000"/>
              <a:gd name="connsiteX11" fmla="*/ 739010 w 12197674"/>
              <a:gd name="connsiteY11" fmla="*/ 2145814 h 6858000"/>
              <a:gd name="connsiteX12" fmla="*/ 368162 w 12197674"/>
              <a:gd name="connsiteY12" fmla="*/ 2358110 h 6858000"/>
              <a:gd name="connsiteX13" fmla="*/ 368162 w 12197674"/>
              <a:gd name="connsiteY13" fmla="*/ 3212672 h 6858000"/>
              <a:gd name="connsiteX14" fmla="*/ 736323 w 12197674"/>
              <a:gd name="connsiteY14" fmla="*/ 3431688 h 6858000"/>
              <a:gd name="connsiteX15" fmla="*/ 736323 w 12197674"/>
              <a:gd name="connsiteY15" fmla="*/ 5574813 h 6858000"/>
              <a:gd name="connsiteX16" fmla="*/ 368162 w 12197674"/>
              <a:gd name="connsiteY16" fmla="*/ 5787110 h 6858000"/>
              <a:gd name="connsiteX17" fmla="*/ 368162 w 12197674"/>
              <a:gd name="connsiteY17" fmla="*/ 6858000 h 6858000"/>
              <a:gd name="connsiteX18" fmla="*/ 0 w 12197674"/>
              <a:gd name="connsiteY18" fmla="*/ 6858000 h 6858000"/>
              <a:gd name="connsiteX19" fmla="*/ 4434053 w 12197674"/>
              <a:gd name="connsiteY19" fmla="*/ 428626 h 6858000"/>
              <a:gd name="connsiteX20" fmla="*/ 4068581 w 12197674"/>
              <a:gd name="connsiteY20" fmla="*/ 642267 h 6858000"/>
              <a:gd name="connsiteX21" fmla="*/ 4434053 w 12197674"/>
              <a:gd name="connsiteY21" fmla="*/ 858595 h 6858000"/>
              <a:gd name="connsiteX22" fmla="*/ 3321509 w 12197674"/>
              <a:gd name="connsiteY22" fmla="*/ 0 h 6858000"/>
              <a:gd name="connsiteX23" fmla="*/ 12197674 w 12197674"/>
              <a:gd name="connsiteY23" fmla="*/ 0 h 6858000"/>
              <a:gd name="connsiteX24" fmla="*/ 12197674 w 12197674"/>
              <a:gd name="connsiteY24" fmla="*/ 6858000 h 6858000"/>
              <a:gd name="connsiteX25" fmla="*/ 2960066 w 12197674"/>
              <a:gd name="connsiteY25" fmla="*/ 6858000 h 6858000"/>
              <a:gd name="connsiteX26" fmla="*/ 2957378 w 12197674"/>
              <a:gd name="connsiteY26" fmla="*/ 6858000 h 6858000"/>
              <a:gd name="connsiteX27" fmla="*/ 2957378 w 12197674"/>
              <a:gd name="connsiteY27" fmla="*/ 6852626 h 6858000"/>
              <a:gd name="connsiteX28" fmla="*/ 2957378 w 12197674"/>
              <a:gd name="connsiteY28" fmla="*/ 5570782 h 6858000"/>
              <a:gd name="connsiteX29" fmla="*/ 3325540 w 12197674"/>
              <a:gd name="connsiteY29" fmla="*/ 5354454 h 6858000"/>
              <a:gd name="connsiteX30" fmla="*/ 3325540 w 12197674"/>
              <a:gd name="connsiteY30" fmla="*/ 4499891 h 6858000"/>
              <a:gd name="connsiteX31" fmla="*/ 3693701 w 12197674"/>
              <a:gd name="connsiteY31" fmla="*/ 4283563 h 6858000"/>
              <a:gd name="connsiteX32" fmla="*/ 3693701 w 12197674"/>
              <a:gd name="connsiteY32" fmla="*/ 3857625 h 6858000"/>
              <a:gd name="connsiteX33" fmla="*/ 4065892 w 12197674"/>
              <a:gd name="connsiteY33" fmla="*/ 3642641 h 6858000"/>
              <a:gd name="connsiteX34" fmla="*/ 4065892 w 12197674"/>
              <a:gd name="connsiteY34" fmla="*/ 1073578 h 6858000"/>
              <a:gd name="connsiteX35" fmla="*/ 3696388 w 12197674"/>
              <a:gd name="connsiteY35" fmla="*/ 854563 h 6858000"/>
              <a:gd name="connsiteX36" fmla="*/ 3696388 w 12197674"/>
              <a:gd name="connsiteY36" fmla="*/ 428625 h 6858000"/>
              <a:gd name="connsiteX37" fmla="*/ 3321509 w 12197674"/>
              <a:gd name="connsiteY37" fmla="*/ 216328 h 6858000"/>
              <a:gd name="connsiteX38" fmla="*/ 0 w 12197674"/>
              <a:gd name="connsiteY38" fmla="*/ 0 h 6858000"/>
              <a:gd name="connsiteX39" fmla="*/ 370849 w 12197674"/>
              <a:gd name="connsiteY39" fmla="*/ 0 h 6858000"/>
              <a:gd name="connsiteX40" fmla="*/ 370849 w 12197674"/>
              <a:gd name="connsiteY40" fmla="*/ 216328 h 6858000"/>
              <a:gd name="connsiteX41" fmla="*/ 0 w 12197674"/>
              <a:gd name="connsiteY41" fmla="*/ 4286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7674" h="6858000">
                <a:moveTo>
                  <a:pt x="4065892" y="5358485"/>
                </a:moveTo>
                <a:lnTo>
                  <a:pt x="3700420" y="5570782"/>
                </a:lnTo>
                <a:lnTo>
                  <a:pt x="4065892" y="5784423"/>
                </a:lnTo>
                <a:close/>
                <a:moveTo>
                  <a:pt x="4436741" y="3431688"/>
                </a:moveTo>
                <a:lnTo>
                  <a:pt x="4068580" y="3645329"/>
                </a:lnTo>
                <a:lnTo>
                  <a:pt x="4436741" y="3857626"/>
                </a:lnTo>
                <a:lnTo>
                  <a:pt x="4802214" y="3645329"/>
                </a:lnTo>
                <a:close/>
                <a:moveTo>
                  <a:pt x="0" y="854563"/>
                </a:moveTo>
                <a:lnTo>
                  <a:pt x="370849" y="1068204"/>
                </a:lnTo>
                <a:lnTo>
                  <a:pt x="368162" y="1499516"/>
                </a:lnTo>
                <a:lnTo>
                  <a:pt x="739010" y="1713157"/>
                </a:lnTo>
                <a:lnTo>
                  <a:pt x="739010" y="2145814"/>
                </a:lnTo>
                <a:lnTo>
                  <a:pt x="368162" y="2358110"/>
                </a:lnTo>
                <a:lnTo>
                  <a:pt x="368162" y="3212672"/>
                </a:lnTo>
                <a:lnTo>
                  <a:pt x="736323" y="3431688"/>
                </a:lnTo>
                <a:lnTo>
                  <a:pt x="736323" y="5574813"/>
                </a:lnTo>
                <a:lnTo>
                  <a:pt x="368162" y="5787110"/>
                </a:lnTo>
                <a:lnTo>
                  <a:pt x="368162" y="6858000"/>
                </a:lnTo>
                <a:lnTo>
                  <a:pt x="0" y="6858000"/>
                </a:lnTo>
                <a:close/>
                <a:moveTo>
                  <a:pt x="4434053" y="428626"/>
                </a:moveTo>
                <a:lnTo>
                  <a:pt x="4068581" y="642267"/>
                </a:lnTo>
                <a:lnTo>
                  <a:pt x="4434053" y="858595"/>
                </a:lnTo>
                <a:close/>
                <a:moveTo>
                  <a:pt x="3321509" y="0"/>
                </a:moveTo>
                <a:lnTo>
                  <a:pt x="12197674" y="0"/>
                </a:lnTo>
                <a:lnTo>
                  <a:pt x="12197674" y="6858000"/>
                </a:lnTo>
                <a:lnTo>
                  <a:pt x="2960066" y="6858000"/>
                </a:lnTo>
                <a:lnTo>
                  <a:pt x="2957378" y="6858000"/>
                </a:lnTo>
                <a:lnTo>
                  <a:pt x="2957378" y="6852626"/>
                </a:lnTo>
                <a:lnTo>
                  <a:pt x="2957378" y="5570782"/>
                </a:lnTo>
                <a:lnTo>
                  <a:pt x="3325540" y="5354454"/>
                </a:lnTo>
                <a:lnTo>
                  <a:pt x="3325540" y="4499891"/>
                </a:lnTo>
                <a:lnTo>
                  <a:pt x="3693701" y="4283563"/>
                </a:lnTo>
                <a:lnTo>
                  <a:pt x="3693701" y="3857625"/>
                </a:lnTo>
                <a:lnTo>
                  <a:pt x="4065892" y="3642641"/>
                </a:lnTo>
                <a:lnTo>
                  <a:pt x="4065892" y="1073578"/>
                </a:lnTo>
                <a:lnTo>
                  <a:pt x="3696388" y="854563"/>
                </a:lnTo>
                <a:lnTo>
                  <a:pt x="3696388" y="428625"/>
                </a:lnTo>
                <a:lnTo>
                  <a:pt x="3321509" y="216328"/>
                </a:lnTo>
                <a:close/>
                <a:moveTo>
                  <a:pt x="0" y="0"/>
                </a:moveTo>
                <a:lnTo>
                  <a:pt x="370849" y="0"/>
                </a:lnTo>
                <a:lnTo>
                  <a:pt x="370849" y="216328"/>
                </a:lnTo>
                <a:lnTo>
                  <a:pt x="0" y="428625"/>
                </a:ln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1" name="Freeform 10"/>
          <p:cNvSpPr>
            <a:spLocks/>
          </p:cNvSpPr>
          <p:nvPr userDrawn="1"/>
        </p:nvSpPr>
        <p:spPr bwMode="auto">
          <a:xfrm>
            <a:off x="4436739" y="1287219"/>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E9B43"/>
              </a:gs>
              <a:gs pos="100000">
                <a:srgbClr val="FE9441"/>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2" name="Freeform 11"/>
          <p:cNvSpPr>
            <a:spLocks/>
          </p:cNvSpPr>
          <p:nvPr userDrawn="1"/>
        </p:nvSpPr>
        <p:spPr bwMode="auto">
          <a:xfrm>
            <a:off x="1111200" y="1070891"/>
            <a:ext cx="368161" cy="425938"/>
          </a:xfrm>
          <a:custGeom>
            <a:avLst/>
            <a:gdLst>
              <a:gd name="T0" fmla="*/ 0 w 274"/>
              <a:gd name="T1" fmla="*/ 317 h 317"/>
              <a:gd name="T2" fmla="*/ 0 w 274"/>
              <a:gd name="T3" fmla="*/ 0 h 317"/>
              <a:gd name="T4" fmla="*/ 274 w 274"/>
              <a:gd name="T5" fmla="*/ 159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9"/>
                </a:lnTo>
                <a:lnTo>
                  <a:pt x="0" y="317"/>
                </a:lnTo>
                <a:close/>
              </a:path>
            </a:pathLst>
          </a:custGeom>
          <a:gradFill>
            <a:gsLst>
              <a:gs pos="0">
                <a:srgbClr val="FE9B43"/>
              </a:gs>
              <a:gs pos="100000">
                <a:srgbClr val="FE9441"/>
              </a:gs>
            </a:gsLst>
            <a:lin ang="5400000" scaled="1"/>
          </a:gradFill>
          <a:ln>
            <a:noFill/>
          </a:ln>
        </p:spPr>
        <p:txBody>
          <a:bodyPr vert="horz" wrap="square" lIns="91440" tIns="45720" rIns="91440" bIns="45720" numCol="1" anchor="t" anchorCtr="0" compatLnSpc="1">
            <a:prstTxWarp prst="textNoShape">
              <a:avLst/>
            </a:prstTxWarp>
          </a:bodyPr>
          <a:lstStyle/>
          <a:p>
            <a:pPr lv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6" name="Freeform 15"/>
          <p:cNvSpPr>
            <a:spLocks/>
          </p:cNvSpPr>
          <p:nvPr userDrawn="1"/>
        </p:nvSpPr>
        <p:spPr bwMode="auto">
          <a:xfrm>
            <a:off x="736321" y="6003437"/>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5D4264"/>
              </a:gs>
              <a:gs pos="100000">
                <a:srgbClr val="463B6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7" name="Freeform 16"/>
          <p:cNvSpPr>
            <a:spLocks/>
          </p:cNvSpPr>
          <p:nvPr userDrawn="1"/>
        </p:nvSpPr>
        <p:spPr bwMode="auto">
          <a:xfrm>
            <a:off x="3700418" y="6215734"/>
            <a:ext cx="365473" cy="425938"/>
          </a:xfrm>
          <a:custGeom>
            <a:avLst/>
            <a:gdLst>
              <a:gd name="T0" fmla="*/ 272 w 272"/>
              <a:gd name="T1" fmla="*/ 317 h 317"/>
              <a:gd name="T2" fmla="*/ 272 w 272"/>
              <a:gd name="T3" fmla="*/ 0 h 317"/>
              <a:gd name="T4" fmla="*/ 0 w 272"/>
              <a:gd name="T5" fmla="*/ 159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272" y="0"/>
                </a:lnTo>
                <a:lnTo>
                  <a:pt x="0" y="159"/>
                </a:lnTo>
                <a:lnTo>
                  <a:pt x="272" y="317"/>
                </a:lnTo>
                <a:close/>
              </a:path>
            </a:pathLst>
          </a:custGeom>
          <a:gradFill>
            <a:gsLst>
              <a:gs pos="0">
                <a:srgbClr val="4B3C66"/>
              </a:gs>
              <a:gs pos="100000">
                <a:srgbClr val="39386B"/>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 name="Freeform 11"/>
          <p:cNvSpPr>
            <a:spLocks/>
          </p:cNvSpPr>
          <p:nvPr userDrawn="1"/>
        </p:nvSpPr>
        <p:spPr bwMode="auto">
          <a:xfrm>
            <a:off x="3325539" y="5784422"/>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66425F"/>
              </a:gs>
              <a:gs pos="100000">
                <a:srgbClr val="513E6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 name="Freeform 12"/>
          <p:cNvSpPr>
            <a:spLocks/>
          </p:cNvSpPr>
          <p:nvPr userDrawn="1"/>
        </p:nvSpPr>
        <p:spPr bwMode="auto">
          <a:xfrm>
            <a:off x="3332257" y="2793453"/>
            <a:ext cx="368161" cy="425938"/>
          </a:xfrm>
          <a:custGeom>
            <a:avLst/>
            <a:gdLst>
              <a:gd name="T0" fmla="*/ 0 w 274"/>
              <a:gd name="T1" fmla="*/ 317 h 317"/>
              <a:gd name="T2" fmla="*/ 0 w 274"/>
              <a:gd name="T3" fmla="*/ 0 h 317"/>
              <a:gd name="T4" fmla="*/ 274 w 274"/>
              <a:gd name="T5" fmla="*/ 159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9"/>
                </a:lnTo>
                <a:lnTo>
                  <a:pt x="0" y="317"/>
                </a:lnTo>
                <a:close/>
              </a:path>
            </a:pathLst>
          </a:custGeom>
          <a:gradFill>
            <a:gsLst>
              <a:gs pos="0">
                <a:srgbClr val="FF7638"/>
              </a:gs>
              <a:gs pos="100000">
                <a:srgbClr val="FF6E3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3" name="Freeform 13"/>
          <p:cNvSpPr>
            <a:spLocks/>
          </p:cNvSpPr>
          <p:nvPr userDrawn="1"/>
        </p:nvSpPr>
        <p:spPr bwMode="auto">
          <a:xfrm>
            <a:off x="1111200" y="1713156"/>
            <a:ext cx="368161" cy="428625"/>
          </a:xfrm>
          <a:custGeom>
            <a:avLst/>
            <a:gdLst>
              <a:gd name="T0" fmla="*/ 274 w 274"/>
              <a:gd name="T1" fmla="*/ 319 h 319"/>
              <a:gd name="T2" fmla="*/ 274 w 274"/>
              <a:gd name="T3" fmla="*/ 0 h 319"/>
              <a:gd name="T4" fmla="*/ 0 w 274"/>
              <a:gd name="T5" fmla="*/ 158 h 319"/>
              <a:gd name="T6" fmla="*/ 274 w 274"/>
              <a:gd name="T7" fmla="*/ 319 h 319"/>
            </a:gdLst>
            <a:ahLst/>
            <a:cxnLst>
              <a:cxn ang="0">
                <a:pos x="T0" y="T1"/>
              </a:cxn>
              <a:cxn ang="0">
                <a:pos x="T2" y="T3"/>
              </a:cxn>
              <a:cxn ang="0">
                <a:pos x="T4" y="T5"/>
              </a:cxn>
              <a:cxn ang="0">
                <a:pos x="T6" y="T7"/>
              </a:cxn>
            </a:cxnLst>
            <a:rect l="0" t="0" r="r" b="b"/>
            <a:pathLst>
              <a:path w="274" h="319">
                <a:moveTo>
                  <a:pt x="274" y="319"/>
                </a:moveTo>
                <a:lnTo>
                  <a:pt x="274" y="0"/>
                </a:lnTo>
                <a:lnTo>
                  <a:pt x="0" y="158"/>
                </a:lnTo>
                <a:lnTo>
                  <a:pt x="274" y="319"/>
                </a:lnTo>
                <a:close/>
              </a:path>
            </a:pathLst>
          </a:custGeom>
          <a:gradFill>
            <a:gsLst>
              <a:gs pos="0">
                <a:srgbClr val="FE9040"/>
              </a:gs>
              <a:gs pos="100000">
                <a:srgbClr val="FE893D"/>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Freeform 14"/>
          <p:cNvSpPr>
            <a:spLocks/>
          </p:cNvSpPr>
          <p:nvPr userDrawn="1"/>
        </p:nvSpPr>
        <p:spPr bwMode="auto">
          <a:xfrm>
            <a:off x="4065891" y="4283563"/>
            <a:ext cx="729603" cy="1074922"/>
          </a:xfrm>
          <a:custGeom>
            <a:avLst/>
            <a:gdLst>
              <a:gd name="T0" fmla="*/ 0 w 543"/>
              <a:gd name="T1" fmla="*/ 159 h 800"/>
              <a:gd name="T2" fmla="*/ 0 w 543"/>
              <a:gd name="T3" fmla="*/ 800 h 800"/>
              <a:gd name="T4" fmla="*/ 272 w 543"/>
              <a:gd name="T5" fmla="*/ 641 h 800"/>
              <a:gd name="T6" fmla="*/ 272 w 543"/>
              <a:gd name="T7" fmla="*/ 317 h 800"/>
              <a:gd name="T8" fmla="*/ 543 w 543"/>
              <a:gd name="T9" fmla="*/ 159 h 800"/>
              <a:gd name="T10" fmla="*/ 272 w 543"/>
              <a:gd name="T11" fmla="*/ 0 h 800"/>
              <a:gd name="T12" fmla="*/ 0 w 543"/>
              <a:gd name="T13" fmla="*/ 159 h 800"/>
            </a:gdLst>
            <a:ahLst/>
            <a:cxnLst>
              <a:cxn ang="0">
                <a:pos x="T0" y="T1"/>
              </a:cxn>
              <a:cxn ang="0">
                <a:pos x="T2" y="T3"/>
              </a:cxn>
              <a:cxn ang="0">
                <a:pos x="T4" y="T5"/>
              </a:cxn>
              <a:cxn ang="0">
                <a:pos x="T6" y="T7"/>
              </a:cxn>
              <a:cxn ang="0">
                <a:pos x="T8" y="T9"/>
              </a:cxn>
              <a:cxn ang="0">
                <a:pos x="T10" y="T11"/>
              </a:cxn>
              <a:cxn ang="0">
                <a:pos x="T12" y="T13"/>
              </a:cxn>
            </a:cxnLst>
            <a:rect l="0" t="0" r="r" b="b"/>
            <a:pathLst>
              <a:path w="543" h="800">
                <a:moveTo>
                  <a:pt x="0" y="159"/>
                </a:moveTo>
                <a:lnTo>
                  <a:pt x="0" y="800"/>
                </a:lnTo>
                <a:lnTo>
                  <a:pt x="272" y="641"/>
                </a:lnTo>
                <a:lnTo>
                  <a:pt x="272" y="317"/>
                </a:lnTo>
                <a:lnTo>
                  <a:pt x="543" y="159"/>
                </a:lnTo>
                <a:lnTo>
                  <a:pt x="272" y="0"/>
                </a:lnTo>
                <a:lnTo>
                  <a:pt x="0" y="159"/>
                </a:lnTo>
                <a:close/>
              </a:path>
            </a:pathLst>
          </a:custGeom>
          <a:gradFill>
            <a:gsLst>
              <a:gs pos="0">
                <a:srgbClr val="C65943"/>
              </a:gs>
              <a:gs pos="100000">
                <a:srgbClr val="8C4B5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5" name="Freeform 15"/>
          <p:cNvSpPr>
            <a:spLocks/>
          </p:cNvSpPr>
          <p:nvPr userDrawn="1"/>
        </p:nvSpPr>
        <p:spPr bwMode="auto">
          <a:xfrm>
            <a:off x="370848" y="428625"/>
            <a:ext cx="730947" cy="425938"/>
          </a:xfrm>
          <a:custGeom>
            <a:avLst/>
            <a:gdLst>
              <a:gd name="T0" fmla="*/ 272 w 544"/>
              <a:gd name="T1" fmla="*/ 0 h 317"/>
              <a:gd name="T2" fmla="*/ 0 w 544"/>
              <a:gd name="T3" fmla="*/ 159 h 317"/>
              <a:gd name="T4" fmla="*/ 272 w 544"/>
              <a:gd name="T5" fmla="*/ 317 h 317"/>
              <a:gd name="T6" fmla="*/ 544 w 544"/>
              <a:gd name="T7" fmla="*/ 159 h 317"/>
              <a:gd name="T8" fmla="*/ 272 w 544"/>
              <a:gd name="T9" fmla="*/ 0 h 317"/>
            </a:gdLst>
            <a:ahLst/>
            <a:cxnLst>
              <a:cxn ang="0">
                <a:pos x="T0" y="T1"/>
              </a:cxn>
              <a:cxn ang="0">
                <a:pos x="T2" y="T3"/>
              </a:cxn>
              <a:cxn ang="0">
                <a:pos x="T4" y="T5"/>
              </a:cxn>
              <a:cxn ang="0">
                <a:pos x="T6" y="T7"/>
              </a:cxn>
              <a:cxn ang="0">
                <a:pos x="T8" y="T9"/>
              </a:cxn>
            </a:cxnLst>
            <a:rect l="0" t="0" r="r" b="b"/>
            <a:pathLst>
              <a:path w="544" h="317">
                <a:moveTo>
                  <a:pt x="272" y="0"/>
                </a:moveTo>
                <a:lnTo>
                  <a:pt x="0" y="159"/>
                </a:lnTo>
                <a:lnTo>
                  <a:pt x="272" y="317"/>
                </a:lnTo>
                <a:lnTo>
                  <a:pt x="544" y="159"/>
                </a:lnTo>
                <a:lnTo>
                  <a:pt x="272" y="0"/>
                </a:lnTo>
                <a:close/>
              </a:path>
            </a:pathLst>
          </a:custGeom>
          <a:gradFill>
            <a:gsLst>
              <a:gs pos="0">
                <a:srgbClr val="FDB14A"/>
              </a:gs>
              <a:gs pos="100000">
                <a:srgbClr val="FDA94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6" name="Freeform 16"/>
          <p:cNvSpPr>
            <a:spLocks/>
          </p:cNvSpPr>
          <p:nvPr userDrawn="1"/>
        </p:nvSpPr>
        <p:spPr bwMode="auto">
          <a:xfrm>
            <a:off x="4436739" y="2370202"/>
            <a:ext cx="368161" cy="636891"/>
          </a:xfrm>
          <a:custGeom>
            <a:avLst/>
            <a:gdLst>
              <a:gd name="T0" fmla="*/ 0 w 274"/>
              <a:gd name="T1" fmla="*/ 157 h 474"/>
              <a:gd name="T2" fmla="*/ 3 w 274"/>
              <a:gd name="T3" fmla="*/ 474 h 474"/>
              <a:gd name="T4" fmla="*/ 274 w 274"/>
              <a:gd name="T5" fmla="*/ 315 h 474"/>
              <a:gd name="T6" fmla="*/ 272 w 274"/>
              <a:gd name="T7" fmla="*/ 0 h 474"/>
              <a:gd name="T8" fmla="*/ 0 w 274"/>
              <a:gd name="T9" fmla="*/ 157 h 474"/>
            </a:gdLst>
            <a:ahLst/>
            <a:cxnLst>
              <a:cxn ang="0">
                <a:pos x="T0" y="T1"/>
              </a:cxn>
              <a:cxn ang="0">
                <a:pos x="T2" y="T3"/>
              </a:cxn>
              <a:cxn ang="0">
                <a:pos x="T4" y="T5"/>
              </a:cxn>
              <a:cxn ang="0">
                <a:pos x="T6" y="T7"/>
              </a:cxn>
              <a:cxn ang="0">
                <a:pos x="T8" y="T9"/>
              </a:cxn>
            </a:cxnLst>
            <a:rect l="0" t="0" r="r" b="b"/>
            <a:pathLst>
              <a:path w="274" h="474">
                <a:moveTo>
                  <a:pt x="0" y="157"/>
                </a:moveTo>
                <a:lnTo>
                  <a:pt x="3" y="474"/>
                </a:lnTo>
                <a:lnTo>
                  <a:pt x="274" y="315"/>
                </a:lnTo>
                <a:lnTo>
                  <a:pt x="272" y="0"/>
                </a:lnTo>
                <a:lnTo>
                  <a:pt x="0" y="157"/>
                </a:lnTo>
                <a:close/>
              </a:path>
            </a:pathLst>
          </a:custGeom>
          <a:gradFill>
            <a:gsLst>
              <a:gs pos="0">
                <a:srgbClr val="FE803B"/>
              </a:gs>
              <a:gs pos="100000">
                <a:srgbClr val="FF733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7" name="Freeform 21"/>
          <p:cNvSpPr>
            <a:spLocks/>
          </p:cNvSpPr>
          <p:nvPr userDrawn="1"/>
        </p:nvSpPr>
        <p:spPr bwMode="auto">
          <a:xfrm>
            <a:off x="3337632" y="858594"/>
            <a:ext cx="730947" cy="854563"/>
          </a:xfrm>
          <a:custGeom>
            <a:avLst/>
            <a:gdLst>
              <a:gd name="T0" fmla="*/ 0 w 544"/>
              <a:gd name="T1" fmla="*/ 477 h 636"/>
              <a:gd name="T2" fmla="*/ 0 w 544"/>
              <a:gd name="T3" fmla="*/ 160 h 636"/>
              <a:gd name="T4" fmla="*/ 272 w 544"/>
              <a:gd name="T5" fmla="*/ 0 h 636"/>
              <a:gd name="T6" fmla="*/ 272 w 544"/>
              <a:gd name="T7" fmla="*/ 319 h 636"/>
              <a:gd name="T8" fmla="*/ 544 w 544"/>
              <a:gd name="T9" fmla="*/ 477 h 636"/>
              <a:gd name="T10" fmla="*/ 272 w 544"/>
              <a:gd name="T11" fmla="*/ 636 h 636"/>
              <a:gd name="T12" fmla="*/ 0 w 544"/>
              <a:gd name="T13" fmla="*/ 477 h 636"/>
            </a:gdLst>
            <a:ahLst/>
            <a:cxnLst>
              <a:cxn ang="0">
                <a:pos x="T0" y="T1"/>
              </a:cxn>
              <a:cxn ang="0">
                <a:pos x="T2" y="T3"/>
              </a:cxn>
              <a:cxn ang="0">
                <a:pos x="T4" y="T5"/>
              </a:cxn>
              <a:cxn ang="0">
                <a:pos x="T6" y="T7"/>
              </a:cxn>
              <a:cxn ang="0">
                <a:pos x="T8" y="T9"/>
              </a:cxn>
              <a:cxn ang="0">
                <a:pos x="T10" y="T11"/>
              </a:cxn>
              <a:cxn ang="0">
                <a:pos x="T12" y="T13"/>
              </a:cxn>
            </a:cxnLst>
            <a:rect l="0" t="0" r="r" b="b"/>
            <a:pathLst>
              <a:path w="544" h="636">
                <a:moveTo>
                  <a:pt x="0" y="477"/>
                </a:moveTo>
                <a:lnTo>
                  <a:pt x="0" y="160"/>
                </a:lnTo>
                <a:lnTo>
                  <a:pt x="272" y="0"/>
                </a:lnTo>
                <a:lnTo>
                  <a:pt x="272" y="319"/>
                </a:lnTo>
                <a:lnTo>
                  <a:pt x="544" y="477"/>
                </a:lnTo>
                <a:lnTo>
                  <a:pt x="272" y="636"/>
                </a:lnTo>
                <a:lnTo>
                  <a:pt x="0" y="477"/>
                </a:lnTo>
                <a:close/>
              </a:path>
            </a:pathLst>
          </a:custGeom>
          <a:gradFill>
            <a:gsLst>
              <a:gs pos="0">
                <a:srgbClr val="FEA646"/>
              </a:gs>
              <a:gs pos="100000">
                <a:srgbClr val="FF9340"/>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8" name="Freeform 22"/>
          <p:cNvSpPr>
            <a:spLocks/>
          </p:cNvSpPr>
          <p:nvPr userDrawn="1"/>
        </p:nvSpPr>
        <p:spPr bwMode="auto">
          <a:xfrm>
            <a:off x="2219713" y="4499891"/>
            <a:ext cx="368161" cy="849188"/>
          </a:xfrm>
          <a:custGeom>
            <a:avLst/>
            <a:gdLst>
              <a:gd name="T0" fmla="*/ 274 w 274"/>
              <a:gd name="T1" fmla="*/ 0 h 632"/>
              <a:gd name="T2" fmla="*/ 274 w 274"/>
              <a:gd name="T3" fmla="*/ 317 h 632"/>
              <a:gd name="T4" fmla="*/ 274 w 274"/>
              <a:gd name="T5" fmla="*/ 632 h 632"/>
              <a:gd name="T6" fmla="*/ 0 w 274"/>
              <a:gd name="T7" fmla="*/ 471 h 632"/>
              <a:gd name="T8" fmla="*/ 0 w 274"/>
              <a:gd name="T9" fmla="*/ 156 h 632"/>
              <a:gd name="T10" fmla="*/ 274 w 274"/>
              <a:gd name="T11" fmla="*/ 0 h 632"/>
            </a:gdLst>
            <a:ahLst/>
            <a:cxnLst>
              <a:cxn ang="0">
                <a:pos x="T0" y="T1"/>
              </a:cxn>
              <a:cxn ang="0">
                <a:pos x="T2" y="T3"/>
              </a:cxn>
              <a:cxn ang="0">
                <a:pos x="T4" y="T5"/>
              </a:cxn>
              <a:cxn ang="0">
                <a:pos x="T6" y="T7"/>
              </a:cxn>
              <a:cxn ang="0">
                <a:pos x="T8" y="T9"/>
              </a:cxn>
              <a:cxn ang="0">
                <a:pos x="T10" y="T11"/>
              </a:cxn>
            </a:cxnLst>
            <a:rect l="0" t="0" r="r" b="b"/>
            <a:pathLst>
              <a:path w="274" h="632">
                <a:moveTo>
                  <a:pt x="274" y="0"/>
                </a:moveTo>
                <a:lnTo>
                  <a:pt x="274" y="317"/>
                </a:lnTo>
                <a:lnTo>
                  <a:pt x="274" y="632"/>
                </a:lnTo>
                <a:lnTo>
                  <a:pt x="0" y="471"/>
                </a:lnTo>
                <a:lnTo>
                  <a:pt x="0" y="156"/>
                </a:lnTo>
                <a:lnTo>
                  <a:pt x="274" y="0"/>
                </a:lnTo>
                <a:close/>
              </a:path>
            </a:pathLst>
          </a:custGeom>
          <a:gradFill>
            <a:gsLst>
              <a:gs pos="0">
                <a:srgbClr val="B85547"/>
              </a:gs>
              <a:gs pos="100000">
                <a:srgbClr val="8A4B5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9" name="Freeform 24"/>
          <p:cNvSpPr>
            <a:spLocks/>
          </p:cNvSpPr>
          <p:nvPr userDrawn="1"/>
        </p:nvSpPr>
        <p:spPr bwMode="auto">
          <a:xfrm>
            <a:off x="368161" y="3645328"/>
            <a:ext cx="368161" cy="425938"/>
          </a:xfrm>
          <a:custGeom>
            <a:avLst/>
            <a:gdLst>
              <a:gd name="T0" fmla="*/ 0 w 274"/>
              <a:gd name="T1" fmla="*/ 317 h 317"/>
              <a:gd name="T2" fmla="*/ 0 w 274"/>
              <a:gd name="T3" fmla="*/ 0 h 317"/>
              <a:gd name="T4" fmla="*/ 274 w 274"/>
              <a:gd name="T5" fmla="*/ 158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8"/>
                </a:lnTo>
                <a:lnTo>
                  <a:pt x="0" y="317"/>
                </a:lnTo>
                <a:close/>
              </a:path>
            </a:pathLst>
          </a:custGeom>
          <a:gradFill>
            <a:gsLst>
              <a:gs pos="0">
                <a:srgbClr val="EE6238"/>
              </a:gs>
              <a:gs pos="100000">
                <a:srgbClr val="DB5E3D"/>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30" name="Freeform 25"/>
          <p:cNvSpPr>
            <a:spLocks/>
          </p:cNvSpPr>
          <p:nvPr userDrawn="1"/>
        </p:nvSpPr>
        <p:spPr bwMode="auto">
          <a:xfrm>
            <a:off x="0" y="4292968"/>
            <a:ext cx="368161" cy="846501"/>
          </a:xfrm>
          <a:custGeom>
            <a:avLst/>
            <a:gdLst>
              <a:gd name="T0" fmla="*/ 0 w 274"/>
              <a:gd name="T1" fmla="*/ 0 h 630"/>
              <a:gd name="T2" fmla="*/ 0 w 274"/>
              <a:gd name="T3" fmla="*/ 315 h 630"/>
              <a:gd name="T4" fmla="*/ 0 w 274"/>
              <a:gd name="T5" fmla="*/ 630 h 630"/>
              <a:gd name="T6" fmla="*/ 274 w 274"/>
              <a:gd name="T7" fmla="*/ 471 h 630"/>
              <a:gd name="T8" fmla="*/ 274 w 274"/>
              <a:gd name="T9" fmla="*/ 157 h 630"/>
              <a:gd name="T10" fmla="*/ 0 w 274"/>
              <a:gd name="T11" fmla="*/ 0 h 630"/>
            </a:gdLst>
            <a:ahLst/>
            <a:cxnLst>
              <a:cxn ang="0">
                <a:pos x="T0" y="T1"/>
              </a:cxn>
              <a:cxn ang="0">
                <a:pos x="T2" y="T3"/>
              </a:cxn>
              <a:cxn ang="0">
                <a:pos x="T4" y="T5"/>
              </a:cxn>
              <a:cxn ang="0">
                <a:pos x="T6" y="T7"/>
              </a:cxn>
              <a:cxn ang="0">
                <a:pos x="T8" y="T9"/>
              </a:cxn>
              <a:cxn ang="0">
                <a:pos x="T10" y="T11"/>
              </a:cxn>
            </a:cxnLst>
            <a:rect l="0" t="0" r="r" b="b"/>
            <a:pathLst>
              <a:path w="274" h="630">
                <a:moveTo>
                  <a:pt x="0" y="0"/>
                </a:moveTo>
                <a:lnTo>
                  <a:pt x="0" y="315"/>
                </a:lnTo>
                <a:lnTo>
                  <a:pt x="0" y="630"/>
                </a:lnTo>
                <a:lnTo>
                  <a:pt x="274" y="471"/>
                </a:lnTo>
                <a:lnTo>
                  <a:pt x="274" y="157"/>
                </a:lnTo>
                <a:lnTo>
                  <a:pt x="0" y="0"/>
                </a:lnTo>
                <a:close/>
              </a:path>
            </a:pathLst>
          </a:custGeom>
          <a:gradFill>
            <a:gsLst>
              <a:gs pos="0">
                <a:srgbClr val="C35844"/>
              </a:gs>
              <a:gs pos="92000">
                <a:srgbClr val="8A4B54"/>
              </a:gs>
            </a:gsLst>
            <a:lin ang="5400000" scaled="1"/>
          </a:gradFill>
          <a:ln>
            <a:noFill/>
          </a:ln>
        </p:spPr>
        <p:txBody>
          <a:bodyPr vert="horz" wrap="square" lIns="91440" tIns="45720" rIns="91440" bIns="45720" numCol="1" anchor="t" anchorCtr="0" compatLnSpc="1">
            <a:prstTxWarp prst="textNoShape">
              <a:avLst/>
            </a:prstTxWarp>
          </a:bodyPr>
          <a:lstStyle/>
          <a:p>
            <a:pPr lv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1" name="Picture Placeholder 13">
            <a:extLst>
              <a:ext uri="{FF2B5EF4-FFF2-40B4-BE49-F238E27FC236}">
                <a16:creationId xmlns:a16="http://schemas.microsoft.com/office/drawing/2014/main" id="{B27FB25A-25C1-1145-91A1-08CB3FC40AE3}"/>
              </a:ext>
            </a:extLst>
          </p:cNvPr>
          <p:cNvSpPr>
            <a:spLocks noGrp="1"/>
          </p:cNvSpPr>
          <p:nvPr>
            <p:ph type="pic" sz="quarter" idx="10"/>
          </p:nvPr>
        </p:nvSpPr>
        <p:spPr>
          <a:xfrm>
            <a:off x="0" y="2"/>
            <a:ext cx="5235878" cy="6857999"/>
          </a:xfrm>
          <a:custGeom>
            <a:avLst/>
            <a:gdLst>
              <a:gd name="connsiteX0" fmla="*/ 750460 w 5235878"/>
              <a:gd name="connsiteY0" fmla="*/ 6019914 h 6857999"/>
              <a:gd name="connsiteX1" fmla="*/ 750460 w 5235878"/>
              <a:gd name="connsiteY1" fmla="*/ 6412896 h 6857999"/>
              <a:gd name="connsiteX2" fmla="*/ 1087656 w 5235878"/>
              <a:gd name="connsiteY2" fmla="*/ 6215785 h 6857999"/>
              <a:gd name="connsiteX3" fmla="*/ 4065891 w 5235878"/>
              <a:gd name="connsiteY3" fmla="*/ 5358483 h 6857999"/>
              <a:gd name="connsiteX4" fmla="*/ 4065891 w 5235878"/>
              <a:gd name="connsiteY4" fmla="*/ 5784421 h 6857999"/>
              <a:gd name="connsiteX5" fmla="*/ 3700419 w 5235878"/>
              <a:gd name="connsiteY5" fmla="*/ 5570780 h 6857999"/>
              <a:gd name="connsiteX6" fmla="*/ 2573632 w 5235878"/>
              <a:gd name="connsiteY6" fmla="*/ 4532742 h 6857999"/>
              <a:gd name="connsiteX7" fmla="*/ 2233956 w 5235878"/>
              <a:gd name="connsiteY7" fmla="*/ 4726134 h 6857999"/>
              <a:gd name="connsiteX8" fmla="*/ 2233956 w 5235878"/>
              <a:gd name="connsiteY8" fmla="*/ 5116636 h 6857999"/>
              <a:gd name="connsiteX9" fmla="*/ 2573632 w 5235878"/>
              <a:gd name="connsiteY9" fmla="*/ 5316226 h 6857999"/>
              <a:gd name="connsiteX10" fmla="*/ 2573632 w 5235878"/>
              <a:gd name="connsiteY10" fmla="*/ 4925724 h 6857999"/>
              <a:gd name="connsiteX11" fmla="*/ 4436740 w 5235878"/>
              <a:gd name="connsiteY11" fmla="*/ 3431686 h 6857999"/>
              <a:gd name="connsiteX12" fmla="*/ 4802213 w 5235878"/>
              <a:gd name="connsiteY12" fmla="*/ 3645327 h 6857999"/>
              <a:gd name="connsiteX13" fmla="*/ 4436740 w 5235878"/>
              <a:gd name="connsiteY13" fmla="*/ 3857624 h 6857999"/>
              <a:gd name="connsiteX14" fmla="*/ 4068579 w 5235878"/>
              <a:gd name="connsiteY14" fmla="*/ 3645327 h 6857999"/>
              <a:gd name="connsiteX15" fmla="*/ 3346500 w 5235878"/>
              <a:gd name="connsiteY15" fmla="*/ 2809931 h 6857999"/>
              <a:gd name="connsiteX16" fmla="*/ 3346500 w 5235878"/>
              <a:gd name="connsiteY16" fmla="*/ 3202913 h 6857999"/>
              <a:gd name="connsiteX17" fmla="*/ 3686176 w 5235878"/>
              <a:gd name="connsiteY17" fmla="*/ 3007041 h 6857999"/>
              <a:gd name="connsiteX18" fmla="*/ 1465119 w 5235878"/>
              <a:gd name="connsiteY18" fmla="*/ 1729739 h 6857999"/>
              <a:gd name="connsiteX19" fmla="*/ 1125444 w 5235878"/>
              <a:gd name="connsiteY19" fmla="*/ 1925609 h 6857999"/>
              <a:gd name="connsiteX20" fmla="*/ 1465119 w 5235878"/>
              <a:gd name="connsiteY20" fmla="*/ 2125199 h 6857999"/>
              <a:gd name="connsiteX21" fmla="*/ 1125444 w 5235878"/>
              <a:gd name="connsiteY21" fmla="*/ 1087369 h 6857999"/>
              <a:gd name="connsiteX22" fmla="*/ 1125444 w 5235878"/>
              <a:gd name="connsiteY22" fmla="*/ 1480351 h 6857999"/>
              <a:gd name="connsiteX23" fmla="*/ 1465120 w 5235878"/>
              <a:gd name="connsiteY23" fmla="*/ 1284480 h 6857999"/>
              <a:gd name="connsiteX24" fmla="*/ 3703106 w 5235878"/>
              <a:gd name="connsiteY24" fmla="*/ 891654 h 6857999"/>
              <a:gd name="connsiteX25" fmla="*/ 3365910 w 5235878"/>
              <a:gd name="connsiteY25" fmla="*/ 1090004 h 6857999"/>
              <a:gd name="connsiteX26" fmla="*/ 3365910 w 5235878"/>
              <a:gd name="connsiteY26" fmla="*/ 1482986 h 6857999"/>
              <a:gd name="connsiteX27" fmla="*/ 3703106 w 5235878"/>
              <a:gd name="connsiteY27" fmla="*/ 1680096 h 6857999"/>
              <a:gd name="connsiteX28" fmla="*/ 4040302 w 5235878"/>
              <a:gd name="connsiteY28" fmla="*/ 1482986 h 6857999"/>
              <a:gd name="connsiteX29" fmla="*/ 3703106 w 5235878"/>
              <a:gd name="connsiteY29" fmla="*/ 1287115 h 6857999"/>
              <a:gd name="connsiteX30" fmla="*/ 736322 w 5235878"/>
              <a:gd name="connsiteY30" fmla="*/ 445102 h 6857999"/>
              <a:gd name="connsiteX31" fmla="*/ 399126 w 5235878"/>
              <a:gd name="connsiteY31" fmla="*/ 642213 h 6857999"/>
              <a:gd name="connsiteX32" fmla="*/ 736322 w 5235878"/>
              <a:gd name="connsiteY32" fmla="*/ 838084 h 6857999"/>
              <a:gd name="connsiteX33" fmla="*/ 1073518 w 5235878"/>
              <a:gd name="connsiteY33" fmla="*/ 642213 h 6857999"/>
              <a:gd name="connsiteX34" fmla="*/ 4434052 w 5235878"/>
              <a:gd name="connsiteY34" fmla="*/ 428625 h 6857999"/>
              <a:gd name="connsiteX35" fmla="*/ 4434052 w 5235878"/>
              <a:gd name="connsiteY35" fmla="*/ 858594 h 6857999"/>
              <a:gd name="connsiteX36" fmla="*/ 4068580 w 5235878"/>
              <a:gd name="connsiteY36" fmla="*/ 642266 h 6857999"/>
              <a:gd name="connsiteX37" fmla="*/ 370849 w 5235878"/>
              <a:gd name="connsiteY37" fmla="*/ 0 h 6857999"/>
              <a:gd name="connsiteX38" fmla="*/ 3321508 w 5235878"/>
              <a:gd name="connsiteY38" fmla="*/ 0 h 6857999"/>
              <a:gd name="connsiteX39" fmla="*/ 3321508 w 5235878"/>
              <a:gd name="connsiteY39" fmla="*/ 216327 h 6857999"/>
              <a:gd name="connsiteX40" fmla="*/ 3696387 w 5235878"/>
              <a:gd name="connsiteY40" fmla="*/ 428624 h 6857999"/>
              <a:gd name="connsiteX41" fmla="*/ 3696387 w 5235878"/>
              <a:gd name="connsiteY41" fmla="*/ 854562 h 6857999"/>
              <a:gd name="connsiteX42" fmla="*/ 4065891 w 5235878"/>
              <a:gd name="connsiteY42" fmla="*/ 1073577 h 6857999"/>
              <a:gd name="connsiteX43" fmla="*/ 4065891 w 5235878"/>
              <a:gd name="connsiteY43" fmla="*/ 3642639 h 6857999"/>
              <a:gd name="connsiteX44" fmla="*/ 3693700 w 5235878"/>
              <a:gd name="connsiteY44" fmla="*/ 3857623 h 6857999"/>
              <a:gd name="connsiteX45" fmla="*/ 3693700 w 5235878"/>
              <a:gd name="connsiteY45" fmla="*/ 4283561 h 6857999"/>
              <a:gd name="connsiteX46" fmla="*/ 3325539 w 5235878"/>
              <a:gd name="connsiteY46" fmla="*/ 4499889 h 6857999"/>
              <a:gd name="connsiteX47" fmla="*/ 3325539 w 5235878"/>
              <a:gd name="connsiteY47" fmla="*/ 5354452 h 6857999"/>
              <a:gd name="connsiteX48" fmla="*/ 2957377 w 5235878"/>
              <a:gd name="connsiteY48" fmla="*/ 5570780 h 6857999"/>
              <a:gd name="connsiteX49" fmla="*/ 2957377 w 5235878"/>
              <a:gd name="connsiteY49" fmla="*/ 6852624 h 6857999"/>
              <a:gd name="connsiteX50" fmla="*/ 2957377 w 5235878"/>
              <a:gd name="connsiteY50" fmla="*/ 6857998 h 6857999"/>
              <a:gd name="connsiteX51" fmla="*/ 2960065 w 5235878"/>
              <a:gd name="connsiteY51" fmla="*/ 6857998 h 6857999"/>
              <a:gd name="connsiteX52" fmla="*/ 5235878 w 5235878"/>
              <a:gd name="connsiteY52" fmla="*/ 6857998 h 6857999"/>
              <a:gd name="connsiteX53" fmla="*/ 5235878 w 5235878"/>
              <a:gd name="connsiteY53" fmla="*/ 6857999 h 6857999"/>
              <a:gd name="connsiteX54" fmla="*/ 0 w 5235878"/>
              <a:gd name="connsiteY54" fmla="*/ 6857999 h 6857999"/>
              <a:gd name="connsiteX55" fmla="*/ 0 w 5235878"/>
              <a:gd name="connsiteY55" fmla="*/ 6857998 h 6857999"/>
              <a:gd name="connsiteX56" fmla="*/ 368162 w 5235878"/>
              <a:gd name="connsiteY56" fmla="*/ 6857998 h 6857999"/>
              <a:gd name="connsiteX57" fmla="*/ 368162 w 5235878"/>
              <a:gd name="connsiteY57" fmla="*/ 5787108 h 6857999"/>
              <a:gd name="connsiteX58" fmla="*/ 736323 w 5235878"/>
              <a:gd name="connsiteY58" fmla="*/ 5574811 h 6857999"/>
              <a:gd name="connsiteX59" fmla="*/ 736323 w 5235878"/>
              <a:gd name="connsiteY59" fmla="*/ 3431686 h 6857999"/>
              <a:gd name="connsiteX60" fmla="*/ 368162 w 5235878"/>
              <a:gd name="connsiteY60" fmla="*/ 3212670 h 6857999"/>
              <a:gd name="connsiteX61" fmla="*/ 368162 w 5235878"/>
              <a:gd name="connsiteY61" fmla="*/ 2358109 h 6857999"/>
              <a:gd name="connsiteX62" fmla="*/ 739009 w 5235878"/>
              <a:gd name="connsiteY62" fmla="*/ 2145813 h 6857999"/>
              <a:gd name="connsiteX63" fmla="*/ 739009 w 5235878"/>
              <a:gd name="connsiteY63" fmla="*/ 1713156 h 6857999"/>
              <a:gd name="connsiteX64" fmla="*/ 368162 w 5235878"/>
              <a:gd name="connsiteY64" fmla="*/ 1499515 h 6857999"/>
              <a:gd name="connsiteX65" fmla="*/ 370849 w 5235878"/>
              <a:gd name="connsiteY65" fmla="*/ 1068203 h 6857999"/>
              <a:gd name="connsiteX66" fmla="*/ 0 w 5235878"/>
              <a:gd name="connsiteY66" fmla="*/ 854562 h 6857999"/>
              <a:gd name="connsiteX67" fmla="*/ 0 w 5235878"/>
              <a:gd name="connsiteY67" fmla="*/ 428624 h 6857999"/>
              <a:gd name="connsiteX68" fmla="*/ 370849 w 5235878"/>
              <a:gd name="connsiteY68" fmla="*/ 216327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235878" h="6857999">
                <a:moveTo>
                  <a:pt x="750460" y="6019914"/>
                </a:moveTo>
                <a:lnTo>
                  <a:pt x="750460" y="6412896"/>
                </a:lnTo>
                <a:lnTo>
                  <a:pt x="1087656" y="6215785"/>
                </a:lnTo>
                <a:close/>
                <a:moveTo>
                  <a:pt x="4065891" y="5358483"/>
                </a:moveTo>
                <a:lnTo>
                  <a:pt x="4065891" y="5784421"/>
                </a:lnTo>
                <a:lnTo>
                  <a:pt x="3700419" y="5570780"/>
                </a:lnTo>
                <a:close/>
                <a:moveTo>
                  <a:pt x="2573632" y="4532742"/>
                </a:moveTo>
                <a:lnTo>
                  <a:pt x="2233956" y="4726134"/>
                </a:lnTo>
                <a:lnTo>
                  <a:pt x="2233956" y="5116636"/>
                </a:lnTo>
                <a:lnTo>
                  <a:pt x="2573632" y="5316226"/>
                </a:lnTo>
                <a:lnTo>
                  <a:pt x="2573632" y="4925724"/>
                </a:lnTo>
                <a:close/>
                <a:moveTo>
                  <a:pt x="4436740" y="3431686"/>
                </a:moveTo>
                <a:lnTo>
                  <a:pt x="4802213" y="3645327"/>
                </a:lnTo>
                <a:lnTo>
                  <a:pt x="4436740" y="3857624"/>
                </a:lnTo>
                <a:lnTo>
                  <a:pt x="4068579" y="3645327"/>
                </a:lnTo>
                <a:close/>
                <a:moveTo>
                  <a:pt x="3346500" y="2809931"/>
                </a:moveTo>
                <a:lnTo>
                  <a:pt x="3346500" y="3202913"/>
                </a:lnTo>
                <a:lnTo>
                  <a:pt x="3686176" y="3007041"/>
                </a:lnTo>
                <a:close/>
                <a:moveTo>
                  <a:pt x="1465119" y="1729739"/>
                </a:moveTo>
                <a:lnTo>
                  <a:pt x="1125444" y="1925609"/>
                </a:lnTo>
                <a:lnTo>
                  <a:pt x="1465119" y="2125199"/>
                </a:lnTo>
                <a:close/>
                <a:moveTo>
                  <a:pt x="1125444" y="1087369"/>
                </a:moveTo>
                <a:lnTo>
                  <a:pt x="1125444" y="1480351"/>
                </a:lnTo>
                <a:lnTo>
                  <a:pt x="1465120" y="1284480"/>
                </a:lnTo>
                <a:close/>
                <a:moveTo>
                  <a:pt x="3703106" y="891654"/>
                </a:moveTo>
                <a:lnTo>
                  <a:pt x="3365910" y="1090004"/>
                </a:lnTo>
                <a:lnTo>
                  <a:pt x="3365910" y="1482986"/>
                </a:lnTo>
                <a:lnTo>
                  <a:pt x="3703106" y="1680096"/>
                </a:lnTo>
                <a:lnTo>
                  <a:pt x="4040302" y="1482986"/>
                </a:lnTo>
                <a:lnTo>
                  <a:pt x="3703106" y="1287115"/>
                </a:lnTo>
                <a:close/>
                <a:moveTo>
                  <a:pt x="736322" y="445102"/>
                </a:moveTo>
                <a:lnTo>
                  <a:pt x="399126" y="642213"/>
                </a:lnTo>
                <a:lnTo>
                  <a:pt x="736322" y="838084"/>
                </a:lnTo>
                <a:lnTo>
                  <a:pt x="1073518" y="642213"/>
                </a:lnTo>
                <a:close/>
                <a:moveTo>
                  <a:pt x="4434052" y="428625"/>
                </a:moveTo>
                <a:lnTo>
                  <a:pt x="4434052" y="858594"/>
                </a:lnTo>
                <a:lnTo>
                  <a:pt x="4068580" y="642266"/>
                </a:lnTo>
                <a:close/>
                <a:moveTo>
                  <a:pt x="370849" y="0"/>
                </a:moveTo>
                <a:lnTo>
                  <a:pt x="3321508" y="0"/>
                </a:lnTo>
                <a:lnTo>
                  <a:pt x="3321508" y="216327"/>
                </a:lnTo>
                <a:lnTo>
                  <a:pt x="3696387" y="428624"/>
                </a:lnTo>
                <a:lnTo>
                  <a:pt x="3696387" y="854562"/>
                </a:lnTo>
                <a:lnTo>
                  <a:pt x="4065891" y="1073577"/>
                </a:lnTo>
                <a:lnTo>
                  <a:pt x="4065891" y="3642639"/>
                </a:lnTo>
                <a:lnTo>
                  <a:pt x="3693700" y="3857623"/>
                </a:lnTo>
                <a:lnTo>
                  <a:pt x="3693700" y="4283561"/>
                </a:lnTo>
                <a:lnTo>
                  <a:pt x="3325539" y="4499889"/>
                </a:lnTo>
                <a:lnTo>
                  <a:pt x="3325539" y="5354452"/>
                </a:lnTo>
                <a:lnTo>
                  <a:pt x="2957377" y="5570780"/>
                </a:lnTo>
                <a:lnTo>
                  <a:pt x="2957377" y="6852624"/>
                </a:lnTo>
                <a:lnTo>
                  <a:pt x="2957377" y="6857998"/>
                </a:lnTo>
                <a:lnTo>
                  <a:pt x="2960065" y="6857998"/>
                </a:lnTo>
                <a:lnTo>
                  <a:pt x="5235878" y="6857998"/>
                </a:lnTo>
                <a:lnTo>
                  <a:pt x="5235878" y="6857999"/>
                </a:lnTo>
                <a:lnTo>
                  <a:pt x="0" y="6857999"/>
                </a:lnTo>
                <a:lnTo>
                  <a:pt x="0" y="6857998"/>
                </a:lnTo>
                <a:lnTo>
                  <a:pt x="368162" y="6857998"/>
                </a:lnTo>
                <a:lnTo>
                  <a:pt x="368162" y="5787108"/>
                </a:lnTo>
                <a:lnTo>
                  <a:pt x="736323" y="5574811"/>
                </a:lnTo>
                <a:lnTo>
                  <a:pt x="736323" y="3431686"/>
                </a:lnTo>
                <a:lnTo>
                  <a:pt x="368162" y="3212670"/>
                </a:lnTo>
                <a:lnTo>
                  <a:pt x="368162" y="2358109"/>
                </a:lnTo>
                <a:lnTo>
                  <a:pt x="739009" y="2145813"/>
                </a:lnTo>
                <a:lnTo>
                  <a:pt x="739009" y="1713156"/>
                </a:lnTo>
                <a:lnTo>
                  <a:pt x="368162" y="1499515"/>
                </a:lnTo>
                <a:lnTo>
                  <a:pt x="370849" y="1068203"/>
                </a:lnTo>
                <a:lnTo>
                  <a:pt x="0" y="854562"/>
                </a:lnTo>
                <a:lnTo>
                  <a:pt x="0" y="428624"/>
                </a:lnTo>
                <a:lnTo>
                  <a:pt x="370849" y="216327"/>
                </a:lnTo>
                <a:close/>
              </a:path>
            </a:pathLst>
          </a:custGeom>
        </p:spPr>
        <p:txBody>
          <a:bodyPr wrap="square">
            <a:noAutofit/>
          </a:bodyPr>
          <a:lstStyle>
            <a:lvl1pPr marL="0" indent="0">
              <a:buNone/>
              <a:defRPr sz="120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to add picture</a:t>
            </a:r>
            <a:endParaRPr lang="ar-SA"/>
          </a:p>
        </p:txBody>
      </p:sp>
      <p:sp>
        <p:nvSpPr>
          <p:cNvPr id="18" name="Title 1">
            <a:extLst>
              <a:ext uri="{FF2B5EF4-FFF2-40B4-BE49-F238E27FC236}">
                <a16:creationId xmlns:a16="http://schemas.microsoft.com/office/drawing/2014/main" id="{31BBA778-64E4-9C4C-8806-1A8C377A972B}"/>
              </a:ext>
            </a:extLst>
          </p:cNvPr>
          <p:cNvSpPr>
            <a:spLocks noGrp="1"/>
          </p:cNvSpPr>
          <p:nvPr>
            <p:ph type="title" hasCustomPrompt="1"/>
          </p:nvPr>
        </p:nvSpPr>
        <p:spPr>
          <a:xfrm>
            <a:off x="6497354" y="1496859"/>
            <a:ext cx="3796431" cy="2674307"/>
          </a:xfrm>
        </p:spPr>
        <p:txBody>
          <a:bodyPr lIns="0" tIns="0" rIns="0" bIns="0" anchor="b">
            <a:noAutofit/>
          </a:bodyPr>
          <a:lstStyle>
            <a:lvl1pPr>
              <a:defRPr sz="2800" b="0">
                <a:latin typeface="Arial" panose="020B0604020202020204" pitchFamily="34" charset="0"/>
                <a:ea typeface="+mj-ea"/>
                <a:cs typeface="Arial" panose="020B0604020202020204" pitchFamily="34" charset="0"/>
                <a:sym typeface="Arial" panose="020B0604020202020204" pitchFamily="34" charset="0"/>
              </a:defRPr>
            </a:lvl1pPr>
          </a:lstStyle>
          <a:p>
            <a:r>
              <a:rPr lang="en-US"/>
              <a:t>Divider title goes here</a:t>
            </a:r>
            <a:endParaRPr lang="ar-SA"/>
          </a:p>
        </p:txBody>
      </p:sp>
      <p:sp>
        <p:nvSpPr>
          <p:cNvPr id="20" name="Text Placeholder 2">
            <a:extLst>
              <a:ext uri="{FF2B5EF4-FFF2-40B4-BE49-F238E27FC236}">
                <a16:creationId xmlns:a16="http://schemas.microsoft.com/office/drawing/2014/main" id="{F91C9796-CB07-194B-B62D-8AC12B657E13}"/>
              </a:ext>
            </a:extLst>
          </p:cNvPr>
          <p:cNvSpPr>
            <a:spLocks noGrp="1"/>
          </p:cNvSpPr>
          <p:nvPr>
            <p:ph type="body" idx="1" hasCustomPrompt="1"/>
          </p:nvPr>
        </p:nvSpPr>
        <p:spPr>
          <a:xfrm>
            <a:off x="6497354" y="4280981"/>
            <a:ext cx="1679013" cy="1688273"/>
          </a:xfrm>
        </p:spPr>
        <p:txBody>
          <a:bodyPr lIns="0" tIns="0" rIns="0" bIns="0">
            <a:noAutofit/>
          </a:bodyPr>
          <a:lstStyle>
            <a:lvl1pPr marL="0" indent="0">
              <a:buNone/>
              <a:defRPr sz="12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
        <p:nvSpPr>
          <p:cNvPr id="22" name="Text Placeholder 2">
            <a:extLst>
              <a:ext uri="{FF2B5EF4-FFF2-40B4-BE49-F238E27FC236}">
                <a16:creationId xmlns:a16="http://schemas.microsoft.com/office/drawing/2014/main" id="{7940D795-3B71-D04C-A435-56E00A183FAE}"/>
              </a:ext>
            </a:extLst>
          </p:cNvPr>
          <p:cNvSpPr>
            <a:spLocks noGrp="1"/>
          </p:cNvSpPr>
          <p:nvPr>
            <p:ph type="body" idx="11" hasCustomPrompt="1"/>
          </p:nvPr>
        </p:nvSpPr>
        <p:spPr>
          <a:xfrm>
            <a:off x="8614772" y="4280981"/>
            <a:ext cx="1679013" cy="1688273"/>
          </a:xfrm>
        </p:spPr>
        <p:txBody>
          <a:bodyPr lIns="0" tIns="0" rIns="0" bIns="0">
            <a:noAutofit/>
          </a:bodyPr>
          <a:lstStyle>
            <a:lvl1pPr marL="0" indent="0">
              <a:buNone/>
              <a:defRPr sz="12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Tree>
    <p:extLst>
      <p:ext uri="{BB962C8B-B14F-4D97-AF65-F5344CB8AC3E}">
        <p14:creationId xmlns:p14="http://schemas.microsoft.com/office/powerpoint/2010/main" val="630199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3839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9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09A520-7CEC-426E-B2CA-4F5F2C211A2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bwMode="blackWhite">
          <a:xfrm>
            <a:off x="695325" y="3826800"/>
            <a:ext cx="10764836" cy="2041200"/>
          </a:xfrm>
        </p:spPr>
        <p:txBody>
          <a:bodyPr anchor="t">
            <a:noAutofit/>
          </a:bodyPr>
          <a:lstStyle>
            <a:lvl1pPr>
              <a:defRPr sz="5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95325" y="3680016"/>
            <a:ext cx="1149326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Tree>
    <p:extLst>
      <p:ext uri="{BB962C8B-B14F-4D97-AF65-F5344CB8AC3E}">
        <p14:creationId xmlns:p14="http://schemas.microsoft.com/office/powerpoint/2010/main" val="1296334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7307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91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12507-129C-4183-8806-06ACE8BDAEC3}"/>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rgbClr val="273370">
                  <a:lumMod val="100000"/>
                </a:srgbClr>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Tree>
    <p:extLst>
      <p:ext uri="{BB962C8B-B14F-4D97-AF65-F5344CB8AC3E}">
        <p14:creationId xmlns:p14="http://schemas.microsoft.com/office/powerpoint/2010/main" val="1470646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46440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D4C3107-4412-41E1-813C-6AFC8D21638D}"/>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5" name="Title 1"/>
          <p:cNvSpPr>
            <a:spLocks noGrp="1"/>
          </p:cNvSpPr>
          <p:nvPr>
            <p:ph type="title" hasCustomPrompt="1"/>
          </p:nvPr>
        </p:nvSpPr>
        <p:spPr bwMode="black">
          <a:xfrm>
            <a:off x="695325" y="1785600"/>
            <a:ext cx="6247552" cy="3286800"/>
          </a:xfrm>
          <a:prstGeom prst="rect">
            <a:avLst/>
          </a:prstGeom>
        </p:spPr>
        <p:txBody>
          <a:bodyPr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3" name="Footer Placeholder 4">
            <a:extLst>
              <a:ext uri="{FF2B5EF4-FFF2-40B4-BE49-F238E27FC236}">
                <a16:creationId xmlns:a16="http://schemas.microsoft.com/office/drawing/2014/main" id="{1C2617A8-F868-4DAB-9699-EA6828B5BDE2}"/>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095083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3454974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40"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7BAC85-A7A7-4960-97E0-1917DD42A2F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3"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66" name="Group 65"/>
          <p:cNvGrpSpPr/>
          <p:nvPr userDrawn="1"/>
        </p:nvGrpSpPr>
        <p:grpSpPr>
          <a:xfrm>
            <a:off x="397420" y="550751"/>
            <a:ext cx="462459" cy="576905"/>
            <a:chOff x="324330" y="590555"/>
            <a:chExt cx="608641" cy="759263"/>
          </a:xfrm>
        </p:grpSpPr>
        <p:sp>
          <p:nvSpPr>
            <p:cNvPr id="67" name="Parallelogram 66"/>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8" name="Rectangle 67"/>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15" name="Text Placeholder 3">
            <a:extLst>
              <a:ext uri="{FF2B5EF4-FFF2-40B4-BE49-F238E27FC236}">
                <a16:creationId xmlns:a16="http://schemas.microsoft.com/office/drawing/2014/main" id="{8E7414D5-490B-4BB7-8FC7-26F1A91E306B}"/>
              </a:ext>
            </a:extLst>
          </p:cNvPr>
          <p:cNvSpPr>
            <a:spLocks noGrp="1"/>
          </p:cNvSpPr>
          <p:nvPr>
            <p:ph idx="1" hasCustomPrompt="1"/>
          </p:nvPr>
        </p:nvSpPr>
        <p:spPr>
          <a:xfrm>
            <a:off x="695325" y="1959430"/>
            <a:ext cx="10764836" cy="3978184"/>
          </a:xfrm>
          <a:prstGeom prst="rect">
            <a:avLst/>
          </a:prstGeom>
        </p:spPr>
        <p:txBody>
          <a:bodyPr vert="horz" lIns="0" tIns="0" rIns="0" bIns="0" rtlCol="0">
            <a:noAutofit/>
          </a:bodyPr>
          <a:lstStyle>
            <a:lvl1pPr>
              <a:defRPr sz="1400">
                <a:latin typeface="Arial" panose="020B0604020202020204" pitchFamily="34" charset="0"/>
                <a:ea typeface="+mn-ea"/>
                <a:cs typeface="Arial" panose="020B0604020202020204" pitchFamily="34" charset="0"/>
                <a:sym typeface="Arial" panose="020B0604020202020204" pitchFamily="34" charset="0"/>
              </a:defRPr>
            </a:lvl1pPr>
            <a:lvl2pPr>
              <a:defRPr sz="1400">
                <a:latin typeface="+mn-lt"/>
                <a:ea typeface="+mn-ea"/>
                <a:cs typeface="+mn-cs"/>
                <a:sym typeface="+mn-lt"/>
              </a:defRPr>
            </a:lvl2pPr>
            <a:lvl3pPr>
              <a:defRPr sz="1400">
                <a:latin typeface="+mn-lt"/>
                <a:ea typeface="+mn-ea"/>
                <a:cs typeface="+mn-cs"/>
                <a:sym typeface="+mn-lt"/>
              </a:defRPr>
            </a:lvl3pPr>
          </a:lstStyle>
          <a:p>
            <a:pPr lvl="0"/>
            <a:r>
              <a:rPr lang="en-US"/>
              <a:t>Edit Master text styles</a:t>
            </a:r>
          </a:p>
        </p:txBody>
      </p:sp>
    </p:spTree>
    <p:extLst>
      <p:ext uri="{BB962C8B-B14F-4D97-AF65-F5344CB8AC3E}">
        <p14:creationId xmlns:p14="http://schemas.microsoft.com/office/powerpoint/2010/main" val="451347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24985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6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3058E2-654C-4943-A842-B045826FB62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p:cNvSpPr>
            <a:spLocks noGrp="1"/>
          </p:cNvSpPr>
          <p:nvPr>
            <p:ph type="title" hasCustomPrompt="1"/>
          </p:nvPr>
        </p:nvSpPr>
        <p:spPr bwMode="ltGray">
          <a:xfrm>
            <a:off x="695325" y="1544274"/>
            <a:ext cx="3452400" cy="1495794"/>
          </a:xfrm>
          <a:noFill/>
        </p:spPr>
        <p:txBody>
          <a:bodyPr wrap="square" lIns="0" tIns="0" rIns="320040" bIns="0" anchor="b">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Tree>
    <p:extLst>
      <p:ext uri="{BB962C8B-B14F-4D97-AF65-F5344CB8AC3E}">
        <p14:creationId xmlns:p14="http://schemas.microsoft.com/office/powerpoint/2010/main" val="4082841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8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88"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9"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pic>
        <p:nvPicPr>
          <p:cNvPr id="4" name="Picture 3"/>
          <p:cNvPicPr>
            <a:picLocks noChangeAspect="1"/>
          </p:cNvPicPr>
          <p:nvPr userDrawn="1"/>
        </p:nvPicPr>
        <p:blipFill>
          <a:blip r:embed="rId6"/>
          <a:stretch>
            <a:fillRect/>
          </a:stretch>
        </p:blipFill>
        <p:spPr>
          <a:xfrm>
            <a:off x="-529" y="2751"/>
            <a:ext cx="12193057" cy="6852498"/>
          </a:xfrm>
          <a:prstGeom prst="rect">
            <a:avLst/>
          </a:prstGeom>
        </p:spPr>
      </p:pic>
    </p:spTree>
    <p:extLst>
      <p:ext uri="{BB962C8B-B14F-4D97-AF65-F5344CB8AC3E}">
        <p14:creationId xmlns:p14="http://schemas.microsoft.com/office/powerpoint/2010/main" val="2266563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85740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5012"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9" name="Date Placeholder 2"/>
          <p:cNvSpPr>
            <a:spLocks noGrp="1"/>
          </p:cNvSpPr>
          <p:nvPr>
            <p:ph type="dt" sz="half" idx="10"/>
          </p:nvPr>
        </p:nvSpPr>
        <p:spPr>
          <a:xfrm>
            <a:off x="9677400" y="6461970"/>
            <a:ext cx="1482051" cy="153888"/>
          </a:xfrm>
          <a:prstGeom prst="rect">
            <a:avLst/>
          </a:prstGeom>
        </p:spPr>
        <p:txBody>
          <a:bodyPr/>
          <a:lstStyle>
            <a:lvl1pPr>
              <a:defRPr>
                <a:solidFill>
                  <a:srgbClr val="8C8C8C"/>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Tree>
    <p:extLst>
      <p:ext uri="{BB962C8B-B14F-4D97-AF65-F5344CB8AC3E}">
        <p14:creationId xmlns:p14="http://schemas.microsoft.com/office/powerpoint/2010/main" val="3268279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674406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Tree>
    <p:extLst>
      <p:ext uri="{BB962C8B-B14F-4D97-AF65-F5344CB8AC3E}">
        <p14:creationId xmlns:p14="http://schemas.microsoft.com/office/powerpoint/2010/main" val="2897476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22636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60"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CC736E-F5ED-4412-AFAD-BD08C41F041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2" name="TextBox 11"/>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Tree>
    <p:extLst>
      <p:ext uri="{BB962C8B-B14F-4D97-AF65-F5344CB8AC3E}">
        <p14:creationId xmlns:p14="http://schemas.microsoft.com/office/powerpoint/2010/main" val="3985867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98431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84"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0368C4-D68E-47CF-9671-7D99823E7821}"/>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2"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5850949" cy="909637"/>
          </a:xfrm>
        </p:spPr>
        <p:txBody>
          <a:bodyPr lIns="0" tIns="0" rIns="0" bIns="0" anchor="t" anchorCtr="0">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9" name="TextBox 18"/>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71" name="Group 70"/>
          <p:cNvGrpSpPr/>
          <p:nvPr userDrawn="1"/>
        </p:nvGrpSpPr>
        <p:grpSpPr>
          <a:xfrm>
            <a:off x="293898" y="558343"/>
            <a:ext cx="669505" cy="835189"/>
            <a:chOff x="324330" y="584804"/>
            <a:chExt cx="608641" cy="759263"/>
          </a:xfrm>
        </p:grpSpPr>
        <p:sp>
          <p:nvSpPr>
            <p:cNvPr id="72" name="Parallelogram 71"/>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3" name="Rectangle 72"/>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40628800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13865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10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646291E-DE10-4364-A565-9610F0EE1DAF}"/>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9" name="Picture 8"/>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0"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4267795" cy="909637"/>
          </a:xfrm>
        </p:spPr>
        <p:txBody>
          <a:bodyPr lIns="0" tIns="0" rIns="0" bIns="0" anchor="t" anchorCtr="0">
            <a:noAutofit/>
          </a:bodyPr>
          <a:lstStyle>
            <a:lvl1pPr rtl="0">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9"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78" name="Group 77"/>
          <p:cNvGrpSpPr/>
          <p:nvPr userDrawn="1"/>
        </p:nvGrpSpPr>
        <p:grpSpPr>
          <a:xfrm>
            <a:off x="293898" y="558343"/>
            <a:ext cx="669505" cy="835189"/>
            <a:chOff x="324330" y="584804"/>
            <a:chExt cx="608641" cy="759263"/>
          </a:xfrm>
        </p:grpSpPr>
        <p:sp>
          <p:nvSpPr>
            <p:cNvPr id="79" name="Parallelogram 78"/>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0" name="Rectangle 79"/>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2906036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23640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13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0DC9F28-E4E2-418E-B810-B9C9EBBE7113}"/>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7" name="Title 4"/>
          <p:cNvSpPr>
            <a:spLocks noGrp="1"/>
          </p:cNvSpPr>
          <p:nvPr>
            <p:ph type="title" hasCustomPrompt="1"/>
          </p:nvPr>
        </p:nvSpPr>
        <p:spPr>
          <a:xfrm>
            <a:off x="695325" y="2681103"/>
            <a:ext cx="3062556" cy="1495794"/>
          </a:xfrm>
          <a:prstGeom prst="rect">
            <a:avLst/>
          </a:prstGeom>
        </p:spPr>
        <p:txBody>
          <a:bodyPr anchor="ctr">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Tree>
    <p:extLst>
      <p:ext uri="{BB962C8B-B14F-4D97-AF65-F5344CB8AC3E}">
        <p14:creationId xmlns:p14="http://schemas.microsoft.com/office/powerpoint/2010/main" val="1545812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372806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5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697BA8-C793-46E3-A441-E6E8A66948B0}"/>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4909448" y="-1309"/>
            <a:ext cx="416951" cy="6858000"/>
          </a:xfrm>
          <a:prstGeom prst="rect">
            <a:avLst/>
          </a:prstGeom>
        </p:spPr>
      </p:pic>
      <p:sp>
        <p:nvSpPr>
          <p:cNvPr id="11" name="Title 4"/>
          <p:cNvSpPr>
            <a:spLocks noGrp="1"/>
          </p:cNvSpPr>
          <p:nvPr>
            <p:ph type="title" hasCustomPrompt="1"/>
          </p:nvPr>
        </p:nvSpPr>
        <p:spPr>
          <a:xfrm>
            <a:off x="695325" y="2681103"/>
            <a:ext cx="3062556" cy="1495794"/>
          </a:xfrm>
          <a:prstGeom prst="rect">
            <a:avLst/>
          </a:prstGeom>
        </p:spPr>
        <p:txBody>
          <a:bodyPr anchor="ctr">
            <a:noAutofit/>
          </a:bodyPr>
          <a:lstStyle>
            <a:lvl1pPr>
              <a:defRPr sz="3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1" name="TextBox 20"/>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2" name="Footer Placeholder 4">
            <a:extLst>
              <a:ext uri="{FF2B5EF4-FFF2-40B4-BE49-F238E27FC236}">
                <a16:creationId xmlns:a16="http://schemas.microsoft.com/office/drawing/2014/main" id="{15C6CB8B-AAF3-4F17-9B5A-2845E3D61F0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267878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2742567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60" name="think-cell Slide" r:id="rId6" imgW="352" imgH="355" progId="TCLayout.ActiveDocument.1">
                  <p:embed/>
                </p:oleObj>
              </mc:Choice>
              <mc:Fallback>
                <p:oleObj name="think-cell Slide" r:id="rId6" imgW="352" imgH="355"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7753F9-F39C-4B13-917D-DD2415153001}"/>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8" name="Title 1"/>
          <p:cNvSpPr>
            <a:spLocks noGrp="1"/>
          </p:cNvSpPr>
          <p:nvPr>
            <p:ph type="title" hasCustomPrompt="1"/>
          </p:nvPr>
        </p:nvSpPr>
        <p:spPr>
          <a:xfrm>
            <a:off x="695325" y="3826333"/>
            <a:ext cx="10764836"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1" name="TextBox 10"/>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344F081F-DFD4-4E2E-9056-89696760EC05}"/>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747836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80933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8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743F5F-AA84-4D9A-87EA-C7897D7C6ABE}"/>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95325" y="1785600"/>
            <a:ext cx="4323075" cy="3286800"/>
          </a:xfrm>
          <a:prstGeom prst="rect">
            <a:avLst/>
          </a:prstGeom>
          <a:noFill/>
        </p:spPr>
        <p:txBody>
          <a:bodyPr wrap="square" lIns="0" tIns="0" rIns="320040" bIns="0"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5" name="Footer Placeholder 4">
            <a:extLst>
              <a:ext uri="{FF2B5EF4-FFF2-40B4-BE49-F238E27FC236}">
                <a16:creationId xmlns:a16="http://schemas.microsoft.com/office/drawing/2014/main" id="{33E26693-A5AA-4A1A-8AB7-E0F6CB510DFF}"/>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233343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36477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204"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4A771F-A12C-4B8A-8A55-AC1E3438DEA4}"/>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4" name="Title 1"/>
          <p:cNvSpPr>
            <a:spLocks noGrp="1"/>
          </p:cNvSpPr>
          <p:nvPr>
            <p:ph type="title" hasCustomPrompt="1"/>
          </p:nvPr>
        </p:nvSpPr>
        <p:spPr bwMode="blackWhite">
          <a:xfrm>
            <a:off x="695325" y="1804650"/>
            <a:ext cx="6182227" cy="3286800"/>
          </a:xfrm>
          <a:prstGeom prst="rect">
            <a:avLst/>
          </a:prstGeom>
        </p:spPr>
        <p:txBody>
          <a:bodyPr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title</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2" name="Footer Placeholder 4">
            <a:extLst>
              <a:ext uri="{FF2B5EF4-FFF2-40B4-BE49-F238E27FC236}">
                <a16:creationId xmlns:a16="http://schemas.microsoft.com/office/drawing/2014/main" id="{A3AC3489-A506-41EF-B0DD-559BD45F7A58}"/>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457615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35879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22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A0DB28-C9BC-4A51-B21F-A5F83D9D3E64}"/>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Title 4"/>
          <p:cNvSpPr>
            <a:spLocks noGrp="1"/>
          </p:cNvSpPr>
          <p:nvPr>
            <p:ph type="title" hasCustomPrompt="1"/>
          </p:nvPr>
        </p:nvSpPr>
        <p:spPr>
          <a:xfrm>
            <a:off x="695325" y="2681103"/>
            <a:ext cx="3127881" cy="1495794"/>
          </a:xfrm>
          <a:prstGeom prst="rect">
            <a:avLst/>
          </a:prstGeom>
        </p:spPr>
        <p:txBody>
          <a:bodyPr anchor="ctr">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1" name="Footer Placeholder 4">
            <a:extLst>
              <a:ext uri="{FF2B5EF4-FFF2-40B4-BE49-F238E27FC236}">
                <a16:creationId xmlns:a16="http://schemas.microsoft.com/office/drawing/2014/main" id="{57079B08-A88D-408E-A4FB-63466C5C3EF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4298018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662262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52"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F16EF6E-2943-4A67-952E-1123FA7CB4D7}"/>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6"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5870679"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23" name="TextBox 2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67" name="Group 66"/>
          <p:cNvGrpSpPr/>
          <p:nvPr userDrawn="1"/>
        </p:nvGrpSpPr>
        <p:grpSpPr>
          <a:xfrm>
            <a:off x="397420" y="550751"/>
            <a:ext cx="462459" cy="576905"/>
            <a:chOff x="324330" y="590555"/>
            <a:chExt cx="608641" cy="759263"/>
          </a:xfrm>
        </p:grpSpPr>
        <p:sp>
          <p:nvSpPr>
            <p:cNvPr id="68" name="Parallelogram 67"/>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9" name="Rectangle 68"/>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13" name="Footer Placeholder 4">
            <a:extLst>
              <a:ext uri="{FF2B5EF4-FFF2-40B4-BE49-F238E27FC236}">
                <a16:creationId xmlns:a16="http://schemas.microsoft.com/office/drawing/2014/main" id="{B5561E72-799C-47D6-8F43-2823139F310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534446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20914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6"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F937071-16F6-49D0-8637-D169075F0F0E}"/>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8"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7695733"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3"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67" name="Group 66"/>
          <p:cNvGrpSpPr/>
          <p:nvPr userDrawn="1"/>
        </p:nvGrpSpPr>
        <p:grpSpPr>
          <a:xfrm>
            <a:off x="397420" y="550751"/>
            <a:ext cx="462459" cy="576905"/>
            <a:chOff x="324330" y="590555"/>
            <a:chExt cx="608641" cy="759263"/>
          </a:xfrm>
        </p:grpSpPr>
        <p:sp>
          <p:nvSpPr>
            <p:cNvPr id="68" name="Parallelogram 67"/>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9" name="Rectangle 68"/>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13" name="Footer Placeholder 4">
            <a:extLst>
              <a:ext uri="{FF2B5EF4-FFF2-40B4-BE49-F238E27FC236}">
                <a16:creationId xmlns:a16="http://schemas.microsoft.com/office/drawing/2014/main" id="{0DBECB86-27DD-4597-AFC5-6FD277B0963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425865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32777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30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B0258A4-73B9-4C1E-A4CB-001C7774026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50000">
                <a:srgbClr val="FF6633"/>
              </a:gs>
              <a:gs pos="0">
                <a:srgbClr val="FDBD4D"/>
              </a:gs>
              <a:gs pos="100000">
                <a:srgbClr val="273370"/>
              </a:gs>
            </a:gsLst>
            <a:lin ang="8100000" scaled="0"/>
          </a:gra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695325" y="512763"/>
            <a:ext cx="6191475" cy="909637"/>
          </a:xfrm>
        </p:spPr>
        <p:txBody>
          <a:bodyPr lIns="0" tIns="0" rIns="0" bIns="0" anchor="t" anchorCtr="0">
            <a:noAutofit/>
          </a:bodyPr>
          <a:lstStyle>
            <a:lvl1pPr>
              <a:defRPr sz="3400">
                <a:solidFill>
                  <a:srgbClr val="FFFFFF"/>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28FD4921-A06A-4B9C-A2E5-6B875F7A0CE2}"/>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035558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41796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324"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04C449-08C3-4D76-B123-D2CF2903CE5B}"/>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95325" y="1785600"/>
            <a:ext cx="4388400" cy="3286800"/>
          </a:xfrm>
          <a:prstGeom prst="rect">
            <a:avLst/>
          </a:prstGeom>
          <a:noFill/>
        </p:spPr>
        <p:txBody>
          <a:bodyPr wrap="square" lIns="0" tIns="0" rIns="320040" bIns="0"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4" name="Footer Placeholder 4">
            <a:extLst>
              <a:ext uri="{FF2B5EF4-FFF2-40B4-BE49-F238E27FC236}">
                <a16:creationId xmlns:a16="http://schemas.microsoft.com/office/drawing/2014/main" id="{0FC45F85-C8B5-4ACD-9DA5-8AE13108572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260886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151624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4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D4C3107-4412-41E1-813C-6AFC8D21638D}"/>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5" name="Title 1"/>
          <p:cNvSpPr>
            <a:spLocks noGrp="1"/>
          </p:cNvSpPr>
          <p:nvPr>
            <p:ph type="title" hasCustomPrompt="1"/>
          </p:nvPr>
        </p:nvSpPr>
        <p:spPr bwMode="black">
          <a:xfrm>
            <a:off x="695325" y="1785600"/>
            <a:ext cx="6247552" cy="3286800"/>
          </a:xfrm>
          <a:prstGeom prst="rect">
            <a:avLst/>
          </a:prstGeom>
        </p:spPr>
        <p:txBody>
          <a:bodyPr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3" name="Footer Placeholder 4">
            <a:extLst>
              <a:ext uri="{FF2B5EF4-FFF2-40B4-BE49-F238E27FC236}">
                <a16:creationId xmlns:a16="http://schemas.microsoft.com/office/drawing/2014/main" id="{1C2617A8-F868-4DAB-9699-EA6828B5BDE2}"/>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494632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4007576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72" name="think-cell Slide" r:id="rId6" imgW="352" imgH="355" progId="TCLayout.ActiveDocument.1">
                  <p:embed/>
                </p:oleObj>
              </mc:Choice>
              <mc:Fallback>
                <p:oleObj name="think-cell Slide" r:id="rId6" imgW="352" imgH="355"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7753F9-F39C-4B13-917D-DD2415153001}"/>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8" name="Title 1"/>
          <p:cNvSpPr>
            <a:spLocks noGrp="1"/>
          </p:cNvSpPr>
          <p:nvPr>
            <p:ph type="title" hasCustomPrompt="1"/>
          </p:nvPr>
        </p:nvSpPr>
        <p:spPr>
          <a:xfrm>
            <a:off x="695325" y="3826333"/>
            <a:ext cx="10764836"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1" name="TextBox 10"/>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344F081F-DFD4-4E2E-9056-89696760EC05}"/>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890301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4560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9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EF0D14-F75B-4E98-A66F-85C6DA42089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6" name="Rectangle 5"/>
          <p:cNvSpPr/>
          <p:nvPr userDrawn="1"/>
        </p:nvSpPr>
        <p:spPr bwMode="white">
          <a:xfrm>
            <a:off x="695325"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rgbClr val="273370">
                  <a:lumMod val="100000"/>
                </a:srgbClr>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95325" y="3826333"/>
            <a:ext cx="10764836"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3"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DC5B5F85-037A-4505-9EC5-C5E020D4EFB7}"/>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4128220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24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8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EF0D14-F75B-4E98-A66F-85C6DA42089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6" name="Rectangle 5"/>
          <p:cNvSpPr/>
          <p:nvPr userDrawn="1"/>
        </p:nvSpPr>
        <p:spPr bwMode="white">
          <a:xfrm>
            <a:off x="695325"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rgbClr val="273370">
                  <a:lumMod val="100000"/>
                </a:srgbClr>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95325" y="3826333"/>
            <a:ext cx="10764836"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3"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DC5B5F85-037A-4505-9EC5-C5E020D4EFB7}"/>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280638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12913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4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TextBox 19"/>
          <p:cNvSpPr txBox="1"/>
          <p:nvPr userDrawn="1"/>
        </p:nvSpPr>
        <p:spPr>
          <a:xfrm>
            <a:off x="695325"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Arial" panose="020B0604020202020204" pitchFamily="34" charset="0"/>
                <a:ea typeface="+mn-ea"/>
                <a:cs typeface="Arial" panose="020B0604020202020204" pitchFamily="34" charset="0"/>
                <a:sym typeface="Arial" panose="020B0604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715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91842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344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Isosceles Triangle 9"/>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DFDDE4B7-1CAB-C84F-90FD-9F68D636888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7523642"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11500" dirty="0"/>
              <a:t>Thank you</a:t>
            </a:r>
            <a:endParaRPr lang="en-US" sz="115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54190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Rocket">
    <p:bg>
      <p:bgPr>
        <a:solidFill>
          <a:schemeClr val="bg1"/>
        </a:solidFill>
        <a:effectLst/>
      </p:bgPr>
    </p:bg>
    <p:spTree>
      <p:nvGrpSpPr>
        <p:cNvPr id="1" name=""/>
        <p:cNvGrpSpPr/>
        <p:nvPr/>
      </p:nvGrpSpPr>
      <p:grpSpPr>
        <a:xfrm>
          <a:off x="0" y="0"/>
          <a:ext cx="0" cy="0"/>
          <a:chOff x="0" y="0"/>
          <a:chExt cx="0" cy="0"/>
        </a:xfrm>
      </p:grpSpPr>
      <p:pic>
        <p:nvPicPr>
          <p:cNvPr id="12" name="Picture 2" descr="Related image">
            <a:extLst>
              <a:ext uri="{FF2B5EF4-FFF2-40B4-BE49-F238E27FC236}">
                <a16:creationId xmlns:a16="http://schemas.microsoft.com/office/drawing/2014/main" id="{2CA4B35C-9310-4F50-A6EE-59B08C2BB511}"/>
              </a:ext>
            </a:extLst>
          </p:cNvPr>
          <p:cNvPicPr>
            <a:picLocks noChangeAspect="1" noChangeArrowheads="1"/>
          </p:cNvPicPr>
          <p:nvPr userDrawn="1"/>
        </p:nvPicPr>
        <p:blipFill rotWithShape="1">
          <a:blip r:embed="rId5" cstate="hqprint">
            <a:duotone>
              <a:schemeClr val="bg2">
                <a:shade val="45000"/>
                <a:satMod val="135000"/>
              </a:schemeClr>
              <a:prstClr val="white"/>
            </a:duotone>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C473FD08-1A0E-43A7-9E7C-FD0A80421B85}"/>
              </a:ext>
            </a:extLst>
          </p:cNvPr>
          <p:cNvSpPr/>
          <p:nvPr userDrawn="1"/>
        </p:nvSpPr>
        <p:spPr>
          <a:xfrm>
            <a:off x="0" y="0"/>
            <a:ext cx="12192000" cy="6858000"/>
          </a:xfrm>
          <a:prstGeom prst="rect">
            <a:avLst/>
          </a:prstGeom>
          <a:solidFill>
            <a:schemeClr val="bg1">
              <a:alpha val="51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64157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68"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grpSp>
        <p:nvGrpSpPr>
          <p:cNvPr id="9" name="Group 8"/>
          <p:cNvGrpSpPr/>
          <p:nvPr userDrawn="1"/>
        </p:nvGrpSpPr>
        <p:grpSpPr>
          <a:xfrm>
            <a:off x="293898" y="558343"/>
            <a:ext cx="669505" cy="835189"/>
            <a:chOff x="324330" y="584804"/>
            <a:chExt cx="608641" cy="759263"/>
          </a:xfrm>
        </p:grpSpPr>
        <p:sp>
          <p:nvSpPr>
            <p:cNvPr id="10" name="Parallelogram 9"/>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Rectangle 10"/>
            <p:cNvSpPr/>
            <p:nvPr/>
          </p:nvSpPr>
          <p:spPr>
            <a:xfrm rot="8954161" flipH="1" flipV="1">
              <a:off x="324330" y="904674"/>
              <a:ext cx="608641" cy="112731"/>
            </a:xfrm>
            <a:prstGeom prst="rect">
              <a:avLst/>
            </a:prstGeom>
            <a:solidFill>
              <a:srgbClr val="E9E9E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agline</a:t>
            </a:r>
            <a:endParaRPr lang="ar-SA"/>
          </a:p>
        </p:txBody>
      </p:sp>
    </p:spTree>
    <p:extLst>
      <p:ext uri="{BB962C8B-B14F-4D97-AF65-F5344CB8AC3E}">
        <p14:creationId xmlns:p14="http://schemas.microsoft.com/office/powerpoint/2010/main" val="99402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6006" y="1333501"/>
            <a:ext cx="11134586" cy="4741863"/>
          </a:xfrm>
          <a:prstGeom prst="rect">
            <a:avLst/>
          </a:prstGeom>
        </p:spPr>
        <p:txBody>
          <a:bodyPr/>
          <a:lstStyle>
            <a:lvl1pPr marL="231752" indent="-231752" algn="l" defTabSz="914309" rtl="0" eaLnBrk="1" latinLnBrk="0" hangingPunct="1">
              <a:lnSpc>
                <a:spcPct val="120000"/>
              </a:lnSpc>
              <a:spcBef>
                <a:spcPts val="1000"/>
              </a:spcBef>
              <a:buClr>
                <a:schemeClr val="accent4"/>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solidFill>
                  <a:sysClr val="windowText" lastClr="000000"/>
                </a:solidFill>
              </a:rPr>
              <a:t>Level 1</a:t>
            </a:r>
            <a:endParaRPr lang="en-US"/>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a:t>Fifth level</a:t>
            </a:r>
          </a:p>
        </p:txBody>
      </p:sp>
    </p:spTree>
    <p:extLst>
      <p:ext uri="{BB962C8B-B14F-4D97-AF65-F5344CB8AC3E}">
        <p14:creationId xmlns:p14="http://schemas.microsoft.com/office/powerpoint/2010/main" val="76341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37819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4005813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70711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4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1899971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56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1">
                <a:latin typeface="DIN Next LT Arabic" panose="020B0503020203050203" pitchFamily="34" charset="-78"/>
                <a:cs typeface="DIN Next LT Arabic" panose="020B0503020203050203" pitchFamily="34" charset="-78"/>
              </a:rPr>
              <a:t>Thank you</a:t>
            </a:r>
          </a:p>
        </p:txBody>
      </p:sp>
    </p:spTree>
    <p:extLst>
      <p:ext uri="{BB962C8B-B14F-4D97-AF65-F5344CB8AC3E}">
        <p14:creationId xmlns:p14="http://schemas.microsoft.com/office/powerpoint/2010/main" val="3808884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74549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58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userDrawn="1">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userDrawn="1">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userDrawn="1">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929364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57450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3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1773631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8035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6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2713515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349425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TextBox 19"/>
          <p:cNvSpPr txBox="1"/>
          <p:nvPr userDrawn="1"/>
        </p:nvSpPr>
        <p:spPr>
          <a:xfrm>
            <a:off x="695325"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Arial" panose="020B0604020202020204" pitchFamily="34" charset="0"/>
                <a:ea typeface="+mn-ea"/>
                <a:cs typeface="Arial" panose="020B0604020202020204" pitchFamily="34" charset="0"/>
                <a:sym typeface="Arial" panose="020B0604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884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userDrawn="1"/>
        </p:nvPicPr>
        <p:blipFill>
          <a:blip r:embed="rId5">
            <a:alphaModFix amt="20000"/>
            <a:extLst>
              <a:ext uri="{28A0092B-C50C-407E-A947-70E740481C1C}">
                <a14:useLocalDpi xmlns:a14="http://schemas.microsoft.com/office/drawing/2010/main"/>
              </a:ext>
            </a:extLst>
          </a:blip>
          <a:stretch>
            <a:fillRect/>
          </a:stretch>
        </p:blipFill>
        <p:spPr>
          <a:xfrm>
            <a:off x="0" y="1954"/>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619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84"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endParaRPr lang="en-US"/>
          </a:p>
        </p:txBody>
      </p:sp>
      <p:sp>
        <p:nvSpPr>
          <p:cNvPr id="9" name="TextBox 8">
            <a:extLst>
              <a:ext uri="{FF2B5EF4-FFF2-40B4-BE49-F238E27FC236}">
                <a16:creationId xmlns:a16="http://schemas.microsoft.com/office/drawing/2014/main" id="{23E70978-148F-482F-B755-B0B90E0D5FA7}"/>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a:t>
            </a:r>
          </a:p>
        </p:txBody>
      </p:sp>
    </p:spTree>
    <p:extLst>
      <p:ext uri="{BB962C8B-B14F-4D97-AF65-F5344CB8AC3E}">
        <p14:creationId xmlns:p14="http://schemas.microsoft.com/office/powerpoint/2010/main" val="1430726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4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1106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70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3767522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88542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3401155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59217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8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363041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80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1">
                <a:latin typeface="DIN Next LT Arabic" panose="020B0503020203050203" pitchFamily="34" charset="-78"/>
                <a:cs typeface="DIN Next LT Arabic" panose="020B0503020203050203" pitchFamily="34" charset="-78"/>
              </a:rPr>
              <a:t>Thank you</a:t>
            </a:r>
          </a:p>
        </p:txBody>
      </p:sp>
    </p:spTree>
    <p:extLst>
      <p:ext uri="{BB962C8B-B14F-4D97-AF65-F5344CB8AC3E}">
        <p14:creationId xmlns:p14="http://schemas.microsoft.com/office/powerpoint/2010/main" val="3184260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15902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82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userDrawn="1">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userDrawn="1">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userDrawn="1">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2999197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149566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7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3439083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5204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90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3600024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userDrawn="1"/>
        </p:nvPicPr>
        <p:blipFill>
          <a:blip r:embed="rId5">
            <a:alphaModFix amt="20000"/>
            <a:extLst>
              <a:ext uri="{28A0092B-C50C-407E-A947-70E740481C1C}">
                <a14:useLocalDpi xmlns:a14="http://schemas.microsoft.com/office/drawing/2010/main"/>
              </a:ext>
            </a:extLst>
          </a:blip>
          <a:stretch>
            <a:fillRect/>
          </a:stretch>
        </p:blipFill>
        <p:spPr>
          <a:xfrm>
            <a:off x="0" y="1954"/>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02941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924"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endParaRPr lang="en-US"/>
          </a:p>
        </p:txBody>
      </p:sp>
      <p:sp>
        <p:nvSpPr>
          <p:cNvPr id="9" name="TextBox 8">
            <a:extLst>
              <a:ext uri="{FF2B5EF4-FFF2-40B4-BE49-F238E27FC236}">
                <a16:creationId xmlns:a16="http://schemas.microsoft.com/office/drawing/2014/main" id="{23E70978-148F-482F-B755-B0B90E0D5FA7}"/>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a:t>
            </a:r>
          </a:p>
        </p:txBody>
      </p:sp>
    </p:spTree>
    <p:extLst>
      <p:ext uri="{BB962C8B-B14F-4D97-AF65-F5344CB8AC3E}">
        <p14:creationId xmlns:p14="http://schemas.microsoft.com/office/powerpoint/2010/main" val="873463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4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5964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4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393690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72915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3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Isosceles Triangle 9"/>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DFDDE4B7-1CAB-C84F-90FD-9F68D636888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8800"/>
              <a:t>Thank you!</a:t>
            </a:r>
            <a:endParaRPr lang="en-US" sz="8800" b="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44816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94795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3938134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9238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02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4228841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04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1">
                <a:latin typeface="DIN Next LT Arabic" panose="020B0503020203050203" pitchFamily="34" charset="-78"/>
                <a:cs typeface="DIN Next LT Arabic" panose="020B0503020203050203" pitchFamily="34" charset="-78"/>
              </a:rPr>
              <a:t>Thank you</a:t>
            </a:r>
          </a:p>
        </p:txBody>
      </p:sp>
    </p:spTree>
    <p:extLst>
      <p:ext uri="{BB962C8B-B14F-4D97-AF65-F5344CB8AC3E}">
        <p14:creationId xmlns:p14="http://schemas.microsoft.com/office/powerpoint/2010/main" val="222485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34675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006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userDrawn="1">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userDrawn="1">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userDrawn="1">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1387755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316845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11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41024743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5746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14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4062931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userDrawn="1"/>
        </p:nvPicPr>
        <p:blipFill>
          <a:blip r:embed="rId5">
            <a:alphaModFix amt="20000"/>
            <a:extLst>
              <a:ext uri="{28A0092B-C50C-407E-A947-70E740481C1C}">
                <a14:useLocalDpi xmlns:a14="http://schemas.microsoft.com/office/drawing/2010/main"/>
              </a:ext>
            </a:extLst>
          </a:blip>
          <a:stretch>
            <a:fillRect/>
          </a:stretch>
        </p:blipFill>
        <p:spPr>
          <a:xfrm>
            <a:off x="0" y="1954"/>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75160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164"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endParaRPr lang="en-US"/>
          </a:p>
        </p:txBody>
      </p:sp>
      <p:sp>
        <p:nvSpPr>
          <p:cNvPr id="9" name="TextBox 8">
            <a:extLst>
              <a:ext uri="{FF2B5EF4-FFF2-40B4-BE49-F238E27FC236}">
                <a16:creationId xmlns:a16="http://schemas.microsoft.com/office/drawing/2014/main" id="{23E70978-148F-482F-B755-B0B90E0D5FA7}"/>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a:t>
            </a:r>
          </a:p>
        </p:txBody>
      </p:sp>
    </p:spTree>
    <p:extLst>
      <p:ext uri="{BB962C8B-B14F-4D97-AF65-F5344CB8AC3E}">
        <p14:creationId xmlns:p14="http://schemas.microsoft.com/office/powerpoint/2010/main" val="1795759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4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11416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18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785946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ocket">
    <p:bg>
      <p:bgPr>
        <a:solidFill>
          <a:schemeClr val="bg1"/>
        </a:solidFill>
        <a:effectLst/>
      </p:bgPr>
    </p:bg>
    <p:spTree>
      <p:nvGrpSpPr>
        <p:cNvPr id="1" name=""/>
        <p:cNvGrpSpPr/>
        <p:nvPr/>
      </p:nvGrpSpPr>
      <p:grpSpPr>
        <a:xfrm>
          <a:off x="0" y="0"/>
          <a:ext cx="0" cy="0"/>
          <a:chOff x="0" y="0"/>
          <a:chExt cx="0" cy="0"/>
        </a:xfrm>
      </p:grpSpPr>
      <p:pic>
        <p:nvPicPr>
          <p:cNvPr id="12" name="Picture 2" descr="Related image">
            <a:extLst>
              <a:ext uri="{FF2B5EF4-FFF2-40B4-BE49-F238E27FC236}">
                <a16:creationId xmlns:a16="http://schemas.microsoft.com/office/drawing/2014/main" id="{2CA4B35C-9310-4F50-A6EE-59B08C2BB511}"/>
              </a:ext>
            </a:extLst>
          </p:cNvPr>
          <p:cNvPicPr>
            <a:picLocks noChangeAspect="1" noChangeArrowheads="1"/>
          </p:cNvPicPr>
          <p:nvPr userDrawn="1"/>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l="17312" b="1735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C473FD08-1A0E-43A7-9E7C-FD0A80421B85}"/>
              </a:ext>
            </a:extLst>
          </p:cNvPr>
          <p:cNvSpPr/>
          <p:nvPr userDrawn="1"/>
        </p:nvSpPr>
        <p:spPr>
          <a:xfrm>
            <a:off x="0" y="0"/>
            <a:ext cx="12192000" cy="6858000"/>
          </a:xfrm>
          <a:prstGeom prst="rect">
            <a:avLst/>
          </a:prstGeom>
          <a:solidFill>
            <a:schemeClr val="bg1">
              <a:alpha val="51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25344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6"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grpSp>
        <p:nvGrpSpPr>
          <p:cNvPr id="9" name="Group 8"/>
          <p:cNvGrpSpPr/>
          <p:nvPr userDrawn="1"/>
        </p:nvGrpSpPr>
        <p:grpSpPr>
          <a:xfrm>
            <a:off x="293898" y="558343"/>
            <a:ext cx="669505" cy="835189"/>
            <a:chOff x="324330" y="584804"/>
            <a:chExt cx="608641" cy="759263"/>
          </a:xfrm>
        </p:grpSpPr>
        <p:sp>
          <p:nvSpPr>
            <p:cNvPr id="10" name="Parallelogram 9"/>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Rectangle 10"/>
            <p:cNvSpPr/>
            <p:nvPr/>
          </p:nvSpPr>
          <p:spPr>
            <a:xfrm rot="8954161" flipH="1" flipV="1">
              <a:off x="324330" y="904674"/>
              <a:ext cx="608641" cy="112731"/>
            </a:xfrm>
            <a:prstGeom prst="rect">
              <a:avLst/>
            </a:prstGeom>
            <a:solidFill>
              <a:srgbClr val="E9E9E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agline</a:t>
            </a:r>
            <a:endParaRPr lang="ar-SA"/>
          </a:p>
        </p:txBody>
      </p:sp>
    </p:spTree>
    <p:extLst>
      <p:ext uri="{BB962C8B-B14F-4D97-AF65-F5344CB8AC3E}">
        <p14:creationId xmlns:p14="http://schemas.microsoft.com/office/powerpoint/2010/main" val="4081972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81263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2"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2F22FD0-6596-4843-9D87-E0FE7F322A8B}"/>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1"/>
          <p:cNvSpPr>
            <a:spLocks/>
          </p:cNvSpPr>
          <p:nvPr userDrawn="1"/>
        </p:nvSpPr>
        <p:spPr bwMode="auto">
          <a:xfrm>
            <a:off x="2" y="1"/>
            <a:ext cx="12191999" cy="6857998"/>
          </a:xfrm>
          <a:custGeom>
            <a:avLst/>
            <a:gdLst>
              <a:gd name="connsiteX0" fmla="*/ 4431989 w 12191999"/>
              <a:gd name="connsiteY0" fmla="*/ 5571788 h 6857998"/>
              <a:gd name="connsiteX1" fmla="*/ 4431989 w 12191999"/>
              <a:gd name="connsiteY1" fmla="*/ 5997393 h 6857998"/>
              <a:gd name="connsiteX2" fmla="*/ 4797291 w 12191999"/>
              <a:gd name="connsiteY2" fmla="*/ 5783919 h 6857998"/>
              <a:gd name="connsiteX3" fmla="*/ 370675 w 12191999"/>
              <a:gd name="connsiteY3" fmla="*/ 4927340 h 6857998"/>
              <a:gd name="connsiteX4" fmla="*/ 2686 w 12191999"/>
              <a:gd name="connsiteY4" fmla="*/ 5139471 h 6857998"/>
              <a:gd name="connsiteX5" fmla="*/ 370675 w 12191999"/>
              <a:gd name="connsiteY5" fmla="*/ 5352945 h 6857998"/>
              <a:gd name="connsiteX6" fmla="*/ 6275965 w 12191999"/>
              <a:gd name="connsiteY6" fmla="*/ 3218211 h 6857998"/>
              <a:gd name="connsiteX7" fmla="*/ 5912005 w 12191999"/>
              <a:gd name="connsiteY7" fmla="*/ 3430342 h 6857998"/>
              <a:gd name="connsiteX8" fmla="*/ 6275965 w 12191999"/>
              <a:gd name="connsiteY8" fmla="*/ 3643816 h 6857998"/>
              <a:gd name="connsiteX9" fmla="*/ 370675 w 12191999"/>
              <a:gd name="connsiteY9" fmla="*/ 3218211 h 6857998"/>
              <a:gd name="connsiteX10" fmla="*/ 370675 w 12191999"/>
              <a:gd name="connsiteY10" fmla="*/ 4076133 h 6857998"/>
              <a:gd name="connsiteX11" fmla="*/ 735978 w 12191999"/>
              <a:gd name="connsiteY11" fmla="*/ 4285578 h 6857998"/>
              <a:gd name="connsiteX12" fmla="*/ 735978 w 12191999"/>
              <a:gd name="connsiteY12" fmla="*/ 3430342 h 6857998"/>
              <a:gd name="connsiteX13" fmla="*/ 5171997 w 12191999"/>
              <a:gd name="connsiteY13" fmla="*/ 1290239 h 6857998"/>
              <a:gd name="connsiteX14" fmla="*/ 5171997 w 12191999"/>
              <a:gd name="connsiteY14" fmla="*/ 1715843 h 6857998"/>
              <a:gd name="connsiteX15" fmla="*/ 5537299 w 12191999"/>
              <a:gd name="connsiteY15" fmla="*/ 1502370 h 6857998"/>
              <a:gd name="connsiteX16" fmla="*/ 370675 w 12191999"/>
              <a:gd name="connsiteY16" fmla="*/ 645791 h 6857998"/>
              <a:gd name="connsiteX17" fmla="*/ 370675 w 12191999"/>
              <a:gd name="connsiteY17" fmla="*/ 1071396 h 6857998"/>
              <a:gd name="connsiteX18" fmla="*/ 735978 w 12191999"/>
              <a:gd name="connsiteY18" fmla="*/ 857922 h 6857998"/>
              <a:gd name="connsiteX19" fmla="*/ 2958689 w 12191999"/>
              <a:gd name="connsiteY19" fmla="*/ 0 h 6857998"/>
              <a:gd name="connsiteX20" fmla="*/ 12191999 w 12191999"/>
              <a:gd name="connsiteY20" fmla="*/ 0 h 6857998"/>
              <a:gd name="connsiteX21" fmla="*/ 12191999 w 12191999"/>
              <a:gd name="connsiteY21" fmla="*/ 6857998 h 6857998"/>
              <a:gd name="connsiteX22" fmla="*/ 4431991 w 12191999"/>
              <a:gd name="connsiteY22" fmla="*/ 6857998 h 6857998"/>
              <a:gd name="connsiteX23" fmla="*/ 4797291 w 12191999"/>
              <a:gd name="connsiteY23" fmla="*/ 6641840 h 6857998"/>
              <a:gd name="connsiteX24" fmla="*/ 4431989 w 12191999"/>
              <a:gd name="connsiteY24" fmla="*/ 6429709 h 6857998"/>
              <a:gd name="connsiteX25" fmla="*/ 4431989 w 12191999"/>
              <a:gd name="connsiteY25" fmla="*/ 6857998 h 6857998"/>
              <a:gd name="connsiteX26" fmla="*/ 3691983 w 12191999"/>
              <a:gd name="connsiteY26" fmla="*/ 6857998 h 6857998"/>
              <a:gd name="connsiteX27" fmla="*/ 3691983 w 12191999"/>
              <a:gd name="connsiteY27" fmla="*/ 6848600 h 6857998"/>
              <a:gd name="connsiteX28" fmla="*/ 3691983 w 12191999"/>
              <a:gd name="connsiteY28" fmla="*/ 6000077 h 6857998"/>
              <a:gd name="connsiteX29" fmla="*/ 5537300 w 12191999"/>
              <a:gd name="connsiteY29" fmla="*/ 4927340 h 6857998"/>
              <a:gd name="connsiteX30" fmla="*/ 5537300 w 12191999"/>
              <a:gd name="connsiteY30" fmla="*/ 3641129 h 6857998"/>
              <a:gd name="connsiteX31" fmla="*/ 5165282 w 12191999"/>
              <a:gd name="connsiteY31" fmla="*/ 3427656 h 6857998"/>
              <a:gd name="connsiteX32" fmla="*/ 5165282 w 12191999"/>
              <a:gd name="connsiteY32" fmla="*/ 2148160 h 6857998"/>
              <a:gd name="connsiteX33" fmla="*/ 4793264 w 12191999"/>
              <a:gd name="connsiteY33" fmla="*/ 1934686 h 6857998"/>
              <a:gd name="connsiteX34" fmla="*/ 4793264 w 12191999"/>
              <a:gd name="connsiteY34" fmla="*/ 1502369 h 6857998"/>
              <a:gd name="connsiteX35" fmla="*/ 4431989 w 12191999"/>
              <a:gd name="connsiteY35" fmla="*/ 1292924 h 6857998"/>
              <a:gd name="connsiteX36" fmla="*/ 4431989 w 12191999"/>
              <a:gd name="connsiteY36" fmla="*/ 857921 h 6857998"/>
              <a:gd name="connsiteX37" fmla="*/ 0 w 12191999"/>
              <a:gd name="connsiteY37" fmla="*/ 0 h 6857998"/>
              <a:gd name="connsiteX38" fmla="*/ 735979 w 12191999"/>
              <a:gd name="connsiteY38" fmla="*/ 0 h 6857998"/>
              <a:gd name="connsiteX39" fmla="*/ 738666 w 12191999"/>
              <a:gd name="connsiteY39" fmla="*/ 0 h 6857998"/>
              <a:gd name="connsiteX40" fmla="*/ 738666 w 12191999"/>
              <a:gd name="connsiteY40" fmla="*/ 1287553 h 6857998"/>
              <a:gd name="connsiteX41" fmla="*/ 367990 w 12191999"/>
              <a:gd name="connsiteY41" fmla="*/ 1499684 h 6857998"/>
              <a:gd name="connsiteX42" fmla="*/ 367990 w 12191999"/>
              <a:gd name="connsiteY42" fmla="*/ 1927973 h 6857998"/>
              <a:gd name="connsiteX43" fmla="*/ 735979 w 12191999"/>
              <a:gd name="connsiteY43" fmla="*/ 2141447 h 6857998"/>
              <a:gd name="connsiteX44" fmla="*/ 735979 w 12191999"/>
              <a:gd name="connsiteY44" fmla="*/ 2573764 h 6857998"/>
              <a:gd name="connsiteX45" fmla="*/ 1107998 w 12191999"/>
              <a:gd name="connsiteY45" fmla="*/ 2789922 h 6857998"/>
              <a:gd name="connsiteX46" fmla="*/ 1107998 w 12191999"/>
              <a:gd name="connsiteY46" fmla="*/ 5783919 h 6857998"/>
              <a:gd name="connsiteX47" fmla="*/ 367990 w 12191999"/>
              <a:gd name="connsiteY47" fmla="*/ 6216236 h 6857998"/>
              <a:gd name="connsiteX48" fmla="*/ 367990 w 12191999"/>
              <a:gd name="connsiteY48" fmla="*/ 6641840 h 6857998"/>
              <a:gd name="connsiteX49" fmla="*/ 738666 w 12191999"/>
              <a:gd name="connsiteY49" fmla="*/ 6425681 h 6857998"/>
              <a:gd name="connsiteX50" fmla="*/ 738666 w 12191999"/>
              <a:gd name="connsiteY50" fmla="*/ 6857998 h 6857998"/>
              <a:gd name="connsiteX51" fmla="*/ 0 w 12191999"/>
              <a:gd name="connsiteY51" fmla="*/ 6857998 h 6857998"/>
              <a:gd name="connsiteX52" fmla="*/ 0 w 12191999"/>
              <a:gd name="connsiteY52" fmla="*/ 4717894 h 6857998"/>
              <a:gd name="connsiteX53" fmla="*/ 365304 w 12191999"/>
              <a:gd name="connsiteY53" fmla="*/ 4504421 h 6857998"/>
              <a:gd name="connsiteX54" fmla="*/ 0 w 12191999"/>
              <a:gd name="connsiteY54" fmla="*/ 4292290 h 6857998"/>
              <a:gd name="connsiteX55" fmla="*/ 0 w 12191999"/>
              <a:gd name="connsiteY55" fmla="*/ 4285577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91999" h="6857998">
                <a:moveTo>
                  <a:pt x="4431989" y="5571788"/>
                </a:moveTo>
                <a:lnTo>
                  <a:pt x="4431989" y="5997393"/>
                </a:lnTo>
                <a:lnTo>
                  <a:pt x="4797291" y="5783919"/>
                </a:lnTo>
                <a:close/>
                <a:moveTo>
                  <a:pt x="370675" y="4927340"/>
                </a:moveTo>
                <a:lnTo>
                  <a:pt x="2686" y="5139471"/>
                </a:lnTo>
                <a:lnTo>
                  <a:pt x="370675" y="5352945"/>
                </a:lnTo>
                <a:close/>
                <a:moveTo>
                  <a:pt x="6275965" y="3218211"/>
                </a:moveTo>
                <a:lnTo>
                  <a:pt x="5912005" y="3430342"/>
                </a:lnTo>
                <a:lnTo>
                  <a:pt x="6275965" y="3643816"/>
                </a:lnTo>
                <a:close/>
                <a:moveTo>
                  <a:pt x="370675" y="3218211"/>
                </a:moveTo>
                <a:lnTo>
                  <a:pt x="370675" y="4076133"/>
                </a:lnTo>
                <a:lnTo>
                  <a:pt x="735978" y="4285578"/>
                </a:lnTo>
                <a:lnTo>
                  <a:pt x="735978" y="3430342"/>
                </a:lnTo>
                <a:close/>
                <a:moveTo>
                  <a:pt x="5171997" y="1290239"/>
                </a:moveTo>
                <a:lnTo>
                  <a:pt x="5171997" y="1715843"/>
                </a:lnTo>
                <a:lnTo>
                  <a:pt x="5537299" y="1502370"/>
                </a:lnTo>
                <a:close/>
                <a:moveTo>
                  <a:pt x="370675" y="645791"/>
                </a:moveTo>
                <a:lnTo>
                  <a:pt x="370675" y="1071396"/>
                </a:lnTo>
                <a:lnTo>
                  <a:pt x="735978" y="857922"/>
                </a:lnTo>
                <a:close/>
                <a:moveTo>
                  <a:pt x="2958689" y="0"/>
                </a:moveTo>
                <a:lnTo>
                  <a:pt x="12191999" y="0"/>
                </a:lnTo>
                <a:lnTo>
                  <a:pt x="12191999" y="6857998"/>
                </a:lnTo>
                <a:lnTo>
                  <a:pt x="4431991" y="6857998"/>
                </a:lnTo>
                <a:lnTo>
                  <a:pt x="4797291" y="6641840"/>
                </a:lnTo>
                <a:lnTo>
                  <a:pt x="4431989" y="6429709"/>
                </a:lnTo>
                <a:lnTo>
                  <a:pt x="4431989" y="6857998"/>
                </a:lnTo>
                <a:lnTo>
                  <a:pt x="3691983" y="6857998"/>
                </a:lnTo>
                <a:lnTo>
                  <a:pt x="3691983" y="6848600"/>
                </a:lnTo>
                <a:lnTo>
                  <a:pt x="3691983" y="6000077"/>
                </a:lnTo>
                <a:lnTo>
                  <a:pt x="5537300" y="4927340"/>
                </a:lnTo>
                <a:lnTo>
                  <a:pt x="5537300" y="3641129"/>
                </a:lnTo>
                <a:lnTo>
                  <a:pt x="5165282" y="3427656"/>
                </a:lnTo>
                <a:lnTo>
                  <a:pt x="5165282" y="2148160"/>
                </a:lnTo>
                <a:lnTo>
                  <a:pt x="4793264" y="1934686"/>
                </a:lnTo>
                <a:lnTo>
                  <a:pt x="4793264" y="1502369"/>
                </a:lnTo>
                <a:lnTo>
                  <a:pt x="4431989" y="1292924"/>
                </a:lnTo>
                <a:lnTo>
                  <a:pt x="4431989" y="857921"/>
                </a:lnTo>
                <a:close/>
                <a:moveTo>
                  <a:pt x="0" y="0"/>
                </a:moveTo>
                <a:lnTo>
                  <a:pt x="735979" y="0"/>
                </a:lnTo>
                <a:lnTo>
                  <a:pt x="738666" y="0"/>
                </a:lnTo>
                <a:lnTo>
                  <a:pt x="738666" y="1287553"/>
                </a:lnTo>
                <a:lnTo>
                  <a:pt x="367990" y="1499684"/>
                </a:lnTo>
                <a:lnTo>
                  <a:pt x="367990" y="1927973"/>
                </a:lnTo>
                <a:lnTo>
                  <a:pt x="735979" y="2141447"/>
                </a:lnTo>
                <a:lnTo>
                  <a:pt x="735979" y="2573764"/>
                </a:lnTo>
                <a:lnTo>
                  <a:pt x="1107998" y="2789922"/>
                </a:lnTo>
                <a:lnTo>
                  <a:pt x="1107998" y="5783919"/>
                </a:lnTo>
                <a:lnTo>
                  <a:pt x="367990" y="6216236"/>
                </a:lnTo>
                <a:lnTo>
                  <a:pt x="367990" y="6641840"/>
                </a:lnTo>
                <a:lnTo>
                  <a:pt x="738666" y="6425681"/>
                </a:lnTo>
                <a:lnTo>
                  <a:pt x="738666" y="6857998"/>
                </a:lnTo>
                <a:lnTo>
                  <a:pt x="0" y="6857998"/>
                </a:lnTo>
                <a:lnTo>
                  <a:pt x="0" y="4717894"/>
                </a:lnTo>
                <a:lnTo>
                  <a:pt x="365304" y="4504421"/>
                </a:lnTo>
                <a:lnTo>
                  <a:pt x="0" y="4292290"/>
                </a:lnTo>
                <a:lnTo>
                  <a:pt x="0" y="4285577"/>
                </a:ln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pPr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3" name="Freeform 7"/>
          <p:cNvSpPr>
            <a:spLocks/>
          </p:cNvSpPr>
          <p:nvPr userDrawn="1"/>
        </p:nvSpPr>
        <p:spPr bwMode="auto">
          <a:xfrm>
            <a:off x="6275966" y="3643816"/>
            <a:ext cx="365303" cy="428290"/>
          </a:xfrm>
          <a:custGeom>
            <a:avLst/>
            <a:gdLst>
              <a:gd name="T0" fmla="*/ 0 w 272"/>
              <a:gd name="T1" fmla="*/ 319 h 319"/>
              <a:gd name="T2" fmla="*/ 0 w 272"/>
              <a:gd name="T3" fmla="*/ 0 h 319"/>
              <a:gd name="T4" fmla="*/ 272 w 272"/>
              <a:gd name="T5" fmla="*/ 161 h 319"/>
              <a:gd name="T6" fmla="*/ 0 w 272"/>
              <a:gd name="T7" fmla="*/ 319 h 319"/>
            </a:gdLst>
            <a:ahLst/>
            <a:cxnLst>
              <a:cxn ang="0">
                <a:pos x="T0" y="T1"/>
              </a:cxn>
              <a:cxn ang="0">
                <a:pos x="T2" y="T3"/>
              </a:cxn>
              <a:cxn ang="0">
                <a:pos x="T4" y="T5"/>
              </a:cxn>
              <a:cxn ang="0">
                <a:pos x="T6" y="T7"/>
              </a:cxn>
            </a:cxnLst>
            <a:rect l="0" t="0" r="r" b="b"/>
            <a:pathLst>
              <a:path w="272" h="319">
                <a:moveTo>
                  <a:pt x="0" y="319"/>
                </a:moveTo>
                <a:lnTo>
                  <a:pt x="0" y="0"/>
                </a:lnTo>
                <a:lnTo>
                  <a:pt x="272" y="161"/>
                </a:lnTo>
                <a:lnTo>
                  <a:pt x="0" y="319"/>
                </a:lnTo>
                <a:close/>
              </a:path>
            </a:pathLst>
          </a:custGeom>
          <a:gradFill>
            <a:gsLst>
              <a:gs pos="0">
                <a:srgbClr val="EB6139"/>
              </a:gs>
              <a:gs pos="100000">
                <a:srgbClr val="D95D3E"/>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4" name="Freeform 8"/>
          <p:cNvSpPr>
            <a:spLocks/>
          </p:cNvSpPr>
          <p:nvPr userDrawn="1"/>
        </p:nvSpPr>
        <p:spPr bwMode="auto">
          <a:xfrm>
            <a:off x="5542673" y="2789922"/>
            <a:ext cx="365303" cy="425605"/>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F7437"/>
              </a:gs>
              <a:gs pos="100000">
                <a:srgbClr val="FF6C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5" name="Freeform 9"/>
          <p:cNvSpPr>
            <a:spLocks/>
          </p:cNvSpPr>
          <p:nvPr userDrawn="1"/>
        </p:nvSpPr>
        <p:spPr bwMode="auto">
          <a:xfrm>
            <a:off x="5539987" y="5783919"/>
            <a:ext cx="365303" cy="425605"/>
          </a:xfrm>
          <a:custGeom>
            <a:avLst/>
            <a:gdLst>
              <a:gd name="T0" fmla="*/ 0 w 272"/>
              <a:gd name="T1" fmla="*/ 317 h 317"/>
              <a:gd name="T2" fmla="*/ 0 w 272"/>
              <a:gd name="T3" fmla="*/ 0 h 317"/>
              <a:gd name="T4" fmla="*/ 272 w 272"/>
              <a:gd name="T5" fmla="*/ 159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9"/>
                </a:lnTo>
                <a:lnTo>
                  <a:pt x="0" y="317"/>
                </a:lnTo>
                <a:close/>
              </a:path>
            </a:pathLst>
          </a:custGeom>
          <a:gradFill>
            <a:gsLst>
              <a:gs pos="0">
                <a:srgbClr val="66425F"/>
              </a:gs>
              <a:gs pos="100000">
                <a:srgbClr val="513E64"/>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6" name="Freeform 12"/>
          <p:cNvSpPr>
            <a:spLocks/>
          </p:cNvSpPr>
          <p:nvPr userDrawn="1"/>
        </p:nvSpPr>
        <p:spPr bwMode="auto">
          <a:xfrm>
            <a:off x="367989" y="2369689"/>
            <a:ext cx="367989" cy="848523"/>
          </a:xfrm>
          <a:custGeom>
            <a:avLst/>
            <a:gdLst>
              <a:gd name="T0" fmla="*/ 2 w 274"/>
              <a:gd name="T1" fmla="*/ 0 h 632"/>
              <a:gd name="T2" fmla="*/ 0 w 274"/>
              <a:gd name="T3" fmla="*/ 317 h 632"/>
              <a:gd name="T4" fmla="*/ 0 w 274"/>
              <a:gd name="T5" fmla="*/ 632 h 632"/>
              <a:gd name="T6" fmla="*/ 274 w 274"/>
              <a:gd name="T7" fmla="*/ 471 h 632"/>
              <a:gd name="T8" fmla="*/ 274 w 274"/>
              <a:gd name="T9" fmla="*/ 156 h 632"/>
              <a:gd name="T10" fmla="*/ 2 w 274"/>
              <a:gd name="T11" fmla="*/ 0 h 632"/>
            </a:gdLst>
            <a:ahLst/>
            <a:cxnLst>
              <a:cxn ang="0">
                <a:pos x="T0" y="T1"/>
              </a:cxn>
              <a:cxn ang="0">
                <a:pos x="T2" y="T3"/>
              </a:cxn>
              <a:cxn ang="0">
                <a:pos x="T4" y="T5"/>
              </a:cxn>
              <a:cxn ang="0">
                <a:pos x="T6" y="T7"/>
              </a:cxn>
              <a:cxn ang="0">
                <a:pos x="T8" y="T9"/>
              </a:cxn>
              <a:cxn ang="0">
                <a:pos x="T10" y="T11"/>
              </a:cxn>
            </a:cxnLst>
            <a:rect l="0" t="0" r="r" b="b"/>
            <a:pathLst>
              <a:path w="274" h="632">
                <a:moveTo>
                  <a:pt x="2" y="0"/>
                </a:moveTo>
                <a:lnTo>
                  <a:pt x="0" y="317"/>
                </a:lnTo>
                <a:lnTo>
                  <a:pt x="0" y="632"/>
                </a:lnTo>
                <a:lnTo>
                  <a:pt x="274" y="471"/>
                </a:lnTo>
                <a:lnTo>
                  <a:pt x="274" y="156"/>
                </a:lnTo>
                <a:lnTo>
                  <a:pt x="2" y="0"/>
                </a:lnTo>
                <a:close/>
              </a:path>
            </a:pathLst>
          </a:custGeom>
          <a:gradFill>
            <a:gsLst>
              <a:gs pos="0">
                <a:srgbClr val="FE7D37"/>
              </a:gs>
              <a:gs pos="100000">
                <a:srgbClr val="FF6D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7" name="Freeform 13"/>
          <p:cNvSpPr>
            <a:spLocks/>
          </p:cNvSpPr>
          <p:nvPr userDrawn="1"/>
        </p:nvSpPr>
        <p:spPr bwMode="auto">
          <a:xfrm>
            <a:off x="367989" y="4927341"/>
            <a:ext cx="367989" cy="847181"/>
          </a:xfrm>
          <a:custGeom>
            <a:avLst/>
            <a:gdLst>
              <a:gd name="T0" fmla="*/ 2 w 274"/>
              <a:gd name="T1" fmla="*/ 0 h 631"/>
              <a:gd name="T2" fmla="*/ 0 w 274"/>
              <a:gd name="T3" fmla="*/ 314 h 631"/>
              <a:gd name="T4" fmla="*/ 0 w 274"/>
              <a:gd name="T5" fmla="*/ 631 h 631"/>
              <a:gd name="T6" fmla="*/ 274 w 274"/>
              <a:gd name="T7" fmla="*/ 471 h 631"/>
              <a:gd name="T8" fmla="*/ 274 w 274"/>
              <a:gd name="T9" fmla="*/ 156 h 631"/>
              <a:gd name="T10" fmla="*/ 2 w 274"/>
              <a:gd name="T11" fmla="*/ 0 h 631"/>
            </a:gdLst>
            <a:ahLst/>
            <a:cxnLst>
              <a:cxn ang="0">
                <a:pos x="T0" y="T1"/>
              </a:cxn>
              <a:cxn ang="0">
                <a:pos x="T2" y="T3"/>
              </a:cxn>
              <a:cxn ang="0">
                <a:pos x="T4" y="T5"/>
              </a:cxn>
              <a:cxn ang="0">
                <a:pos x="T6" y="T7"/>
              </a:cxn>
              <a:cxn ang="0">
                <a:pos x="T8" y="T9"/>
              </a:cxn>
              <a:cxn ang="0">
                <a:pos x="T10" y="T11"/>
              </a:cxn>
            </a:cxnLst>
            <a:rect l="0" t="0" r="r" b="b"/>
            <a:pathLst>
              <a:path w="274" h="631">
                <a:moveTo>
                  <a:pt x="2" y="0"/>
                </a:moveTo>
                <a:lnTo>
                  <a:pt x="0" y="314"/>
                </a:lnTo>
                <a:lnTo>
                  <a:pt x="0" y="631"/>
                </a:lnTo>
                <a:lnTo>
                  <a:pt x="274" y="471"/>
                </a:lnTo>
                <a:lnTo>
                  <a:pt x="274" y="156"/>
                </a:lnTo>
                <a:lnTo>
                  <a:pt x="2" y="0"/>
                </a:lnTo>
                <a:close/>
              </a:path>
            </a:pathLst>
          </a:custGeom>
          <a:gradFill>
            <a:gsLst>
              <a:gs pos="0">
                <a:srgbClr val="994E50"/>
              </a:gs>
              <a:gs pos="100000">
                <a:srgbClr val="7D5B71"/>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8" name="Freeform 14"/>
          <p:cNvSpPr>
            <a:spLocks/>
          </p:cNvSpPr>
          <p:nvPr userDrawn="1"/>
        </p:nvSpPr>
        <p:spPr bwMode="auto">
          <a:xfrm>
            <a:off x="5546702" y="3859974"/>
            <a:ext cx="729264" cy="1286210"/>
          </a:xfrm>
          <a:custGeom>
            <a:avLst/>
            <a:gdLst>
              <a:gd name="T0" fmla="*/ 543 w 543"/>
              <a:gd name="T1" fmla="*/ 799 h 958"/>
              <a:gd name="T2" fmla="*/ 543 w 543"/>
              <a:gd name="T3" fmla="*/ 158 h 958"/>
              <a:gd name="T4" fmla="*/ 272 w 543"/>
              <a:gd name="T5" fmla="*/ 0 h 958"/>
              <a:gd name="T6" fmla="*/ 272 w 543"/>
              <a:gd name="T7" fmla="*/ 641 h 958"/>
              <a:gd name="T8" fmla="*/ 0 w 543"/>
              <a:gd name="T9" fmla="*/ 799 h 958"/>
              <a:gd name="T10" fmla="*/ 272 w 543"/>
              <a:gd name="T11" fmla="*/ 958 h 958"/>
              <a:gd name="T12" fmla="*/ 543 w 543"/>
              <a:gd name="T13" fmla="*/ 799 h 958"/>
            </a:gdLst>
            <a:ahLst/>
            <a:cxnLst>
              <a:cxn ang="0">
                <a:pos x="T0" y="T1"/>
              </a:cxn>
              <a:cxn ang="0">
                <a:pos x="T2" y="T3"/>
              </a:cxn>
              <a:cxn ang="0">
                <a:pos x="T4" y="T5"/>
              </a:cxn>
              <a:cxn ang="0">
                <a:pos x="T6" y="T7"/>
              </a:cxn>
              <a:cxn ang="0">
                <a:pos x="T8" y="T9"/>
              </a:cxn>
              <a:cxn ang="0">
                <a:pos x="T10" y="T11"/>
              </a:cxn>
              <a:cxn ang="0">
                <a:pos x="T12" y="T13"/>
              </a:cxn>
            </a:cxnLst>
            <a:rect l="0" t="0" r="r" b="b"/>
            <a:pathLst>
              <a:path w="543" h="958">
                <a:moveTo>
                  <a:pt x="543" y="799"/>
                </a:moveTo>
                <a:lnTo>
                  <a:pt x="543" y="158"/>
                </a:lnTo>
                <a:lnTo>
                  <a:pt x="272" y="0"/>
                </a:lnTo>
                <a:lnTo>
                  <a:pt x="272" y="641"/>
                </a:lnTo>
                <a:lnTo>
                  <a:pt x="0" y="799"/>
                </a:lnTo>
                <a:lnTo>
                  <a:pt x="272" y="958"/>
                </a:lnTo>
                <a:lnTo>
                  <a:pt x="543" y="799"/>
                </a:lnTo>
                <a:close/>
              </a:path>
            </a:pathLst>
          </a:custGeom>
          <a:gradFill>
            <a:gsLst>
              <a:gs pos="0">
                <a:srgbClr val="DC5E3D"/>
              </a:gs>
              <a:gs pos="100000">
                <a:srgbClr val="964E51"/>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 name="Freeform 15"/>
          <p:cNvSpPr>
            <a:spLocks/>
          </p:cNvSpPr>
          <p:nvPr userDrawn="1"/>
        </p:nvSpPr>
        <p:spPr bwMode="auto">
          <a:xfrm>
            <a:off x="5546702" y="1715842"/>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FE8F3D"/>
              </a:gs>
              <a:gs pos="100000">
                <a:srgbClr val="FE883D"/>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0" name="Freeform 16"/>
          <p:cNvSpPr>
            <a:spLocks/>
          </p:cNvSpPr>
          <p:nvPr userDrawn="1"/>
        </p:nvSpPr>
        <p:spPr bwMode="auto">
          <a:xfrm>
            <a:off x="742694" y="1502369"/>
            <a:ext cx="365303" cy="429632"/>
          </a:xfrm>
          <a:custGeom>
            <a:avLst/>
            <a:gdLst>
              <a:gd name="T0" fmla="*/ 272 w 272"/>
              <a:gd name="T1" fmla="*/ 320 h 320"/>
              <a:gd name="T2" fmla="*/ 0 w 272"/>
              <a:gd name="T3" fmla="*/ 161 h 320"/>
              <a:gd name="T4" fmla="*/ 272 w 272"/>
              <a:gd name="T5" fmla="*/ 0 h 320"/>
              <a:gd name="T6" fmla="*/ 272 w 272"/>
              <a:gd name="T7" fmla="*/ 320 h 320"/>
            </a:gdLst>
            <a:ahLst/>
            <a:cxnLst>
              <a:cxn ang="0">
                <a:pos x="T0" y="T1"/>
              </a:cxn>
              <a:cxn ang="0">
                <a:pos x="T2" y="T3"/>
              </a:cxn>
              <a:cxn ang="0">
                <a:pos x="T4" y="T5"/>
              </a:cxn>
              <a:cxn ang="0">
                <a:pos x="T6" y="T7"/>
              </a:cxn>
            </a:cxnLst>
            <a:rect l="0" t="0" r="r" b="b"/>
            <a:pathLst>
              <a:path w="272" h="320">
                <a:moveTo>
                  <a:pt x="272" y="320"/>
                </a:moveTo>
                <a:lnTo>
                  <a:pt x="0" y="161"/>
                </a:lnTo>
                <a:lnTo>
                  <a:pt x="272" y="0"/>
                </a:lnTo>
                <a:lnTo>
                  <a:pt x="272" y="320"/>
                </a:lnTo>
                <a:close/>
              </a:path>
            </a:pathLst>
          </a:custGeom>
          <a:gradFill>
            <a:gsLst>
              <a:gs pos="0">
                <a:srgbClr val="FE9541"/>
              </a:gs>
              <a:gs pos="100000">
                <a:srgbClr val="FE8E3F"/>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 name="Freeform 17"/>
          <p:cNvSpPr>
            <a:spLocks/>
          </p:cNvSpPr>
          <p:nvPr userDrawn="1"/>
        </p:nvSpPr>
        <p:spPr bwMode="auto">
          <a:xfrm>
            <a:off x="1475987" y="2573764"/>
            <a:ext cx="365303" cy="425605"/>
          </a:xfrm>
          <a:custGeom>
            <a:avLst/>
            <a:gdLst>
              <a:gd name="T0" fmla="*/ 0 w 272"/>
              <a:gd name="T1" fmla="*/ 317 h 317"/>
              <a:gd name="T2" fmla="*/ 272 w 272"/>
              <a:gd name="T3" fmla="*/ 158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8"/>
                </a:lnTo>
                <a:lnTo>
                  <a:pt x="0" y="0"/>
                </a:lnTo>
                <a:lnTo>
                  <a:pt x="0" y="317"/>
                </a:lnTo>
                <a:close/>
              </a:path>
            </a:pathLst>
          </a:custGeom>
          <a:gradFill>
            <a:gsLst>
              <a:gs pos="0">
                <a:srgbClr val="FF7B3A"/>
              </a:gs>
              <a:gs pos="100000">
                <a:srgbClr val="FF763A"/>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2" name="Freeform 18"/>
          <p:cNvSpPr>
            <a:spLocks/>
          </p:cNvSpPr>
          <p:nvPr userDrawn="1"/>
        </p:nvSpPr>
        <p:spPr bwMode="auto">
          <a:xfrm>
            <a:off x="4806694" y="4072105"/>
            <a:ext cx="365303" cy="425605"/>
          </a:xfrm>
          <a:custGeom>
            <a:avLst/>
            <a:gdLst>
              <a:gd name="T0" fmla="*/ 0 w 272"/>
              <a:gd name="T1" fmla="*/ 317 h 317"/>
              <a:gd name="T2" fmla="*/ 272 w 272"/>
              <a:gd name="T3" fmla="*/ 159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9"/>
                </a:lnTo>
                <a:lnTo>
                  <a:pt x="0" y="0"/>
                </a:lnTo>
                <a:lnTo>
                  <a:pt x="0" y="317"/>
                </a:lnTo>
                <a:close/>
              </a:path>
            </a:pathLst>
          </a:custGeom>
          <a:gradFill>
            <a:gsLst>
              <a:gs pos="0">
                <a:srgbClr val="D05B40"/>
              </a:gs>
              <a:gs pos="100000">
                <a:srgbClr val="BE5F4F"/>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3" name="Freeform 19"/>
          <p:cNvSpPr>
            <a:spLocks/>
          </p:cNvSpPr>
          <p:nvPr userDrawn="1"/>
        </p:nvSpPr>
        <p:spPr bwMode="auto">
          <a:xfrm>
            <a:off x="4429303" y="4717895"/>
            <a:ext cx="363961" cy="425605"/>
          </a:xfrm>
          <a:custGeom>
            <a:avLst/>
            <a:gdLst>
              <a:gd name="T0" fmla="*/ 0 w 271"/>
              <a:gd name="T1" fmla="*/ 317 h 317"/>
              <a:gd name="T2" fmla="*/ 271 w 271"/>
              <a:gd name="T3" fmla="*/ 158 h 317"/>
              <a:gd name="T4" fmla="*/ 0 w 271"/>
              <a:gd name="T5" fmla="*/ 0 h 317"/>
              <a:gd name="T6" fmla="*/ 0 w 271"/>
              <a:gd name="T7" fmla="*/ 317 h 317"/>
            </a:gdLst>
            <a:ahLst/>
            <a:cxnLst>
              <a:cxn ang="0">
                <a:pos x="T0" y="T1"/>
              </a:cxn>
              <a:cxn ang="0">
                <a:pos x="T2" y="T3"/>
              </a:cxn>
              <a:cxn ang="0">
                <a:pos x="T4" y="T5"/>
              </a:cxn>
              <a:cxn ang="0">
                <a:pos x="T6" y="T7"/>
              </a:cxn>
            </a:cxnLst>
            <a:rect l="0" t="0" r="r" b="b"/>
            <a:pathLst>
              <a:path w="271" h="317">
                <a:moveTo>
                  <a:pt x="0" y="317"/>
                </a:moveTo>
                <a:lnTo>
                  <a:pt x="271" y="158"/>
                </a:lnTo>
                <a:lnTo>
                  <a:pt x="0" y="0"/>
                </a:lnTo>
                <a:lnTo>
                  <a:pt x="0" y="317"/>
                </a:lnTo>
                <a:close/>
              </a:path>
            </a:pathLst>
          </a:custGeom>
          <a:gradFill>
            <a:gsLst>
              <a:gs pos="0">
                <a:srgbClr val="A8524C"/>
              </a:gs>
              <a:gs pos="100000">
                <a:srgbClr val="985154"/>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Freeform 20"/>
          <p:cNvSpPr>
            <a:spLocks/>
          </p:cNvSpPr>
          <p:nvPr userDrawn="1"/>
        </p:nvSpPr>
        <p:spPr bwMode="auto">
          <a:xfrm>
            <a:off x="1117398" y="648476"/>
            <a:ext cx="365303" cy="425605"/>
          </a:xfrm>
          <a:custGeom>
            <a:avLst/>
            <a:gdLst>
              <a:gd name="T0" fmla="*/ 0 w 272"/>
              <a:gd name="T1" fmla="*/ 317 h 317"/>
              <a:gd name="T2" fmla="*/ 272 w 272"/>
              <a:gd name="T3" fmla="*/ 159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9"/>
                </a:lnTo>
                <a:lnTo>
                  <a:pt x="0" y="0"/>
                </a:lnTo>
                <a:lnTo>
                  <a:pt x="0" y="317"/>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5" name="Freeform 21"/>
          <p:cNvSpPr>
            <a:spLocks/>
          </p:cNvSpPr>
          <p:nvPr userDrawn="1"/>
        </p:nvSpPr>
        <p:spPr bwMode="auto">
          <a:xfrm>
            <a:off x="3701382" y="1074080"/>
            <a:ext cx="730607" cy="425605"/>
          </a:xfrm>
          <a:custGeom>
            <a:avLst/>
            <a:gdLst>
              <a:gd name="T0" fmla="*/ 272 w 544"/>
              <a:gd name="T1" fmla="*/ 0 h 317"/>
              <a:gd name="T2" fmla="*/ 0 w 544"/>
              <a:gd name="T3" fmla="*/ 159 h 317"/>
              <a:gd name="T4" fmla="*/ 272 w 544"/>
              <a:gd name="T5" fmla="*/ 317 h 317"/>
              <a:gd name="T6" fmla="*/ 544 w 544"/>
              <a:gd name="T7" fmla="*/ 159 h 317"/>
              <a:gd name="T8" fmla="*/ 272 w 544"/>
              <a:gd name="T9" fmla="*/ 0 h 317"/>
            </a:gdLst>
            <a:ahLst/>
            <a:cxnLst>
              <a:cxn ang="0">
                <a:pos x="T0" y="T1"/>
              </a:cxn>
              <a:cxn ang="0">
                <a:pos x="T2" y="T3"/>
              </a:cxn>
              <a:cxn ang="0">
                <a:pos x="T4" y="T5"/>
              </a:cxn>
              <a:cxn ang="0">
                <a:pos x="T6" y="T7"/>
              </a:cxn>
              <a:cxn ang="0">
                <a:pos x="T8" y="T9"/>
              </a:cxn>
            </a:cxnLst>
            <a:rect l="0" t="0" r="r" b="b"/>
            <a:pathLst>
              <a:path w="544" h="317">
                <a:moveTo>
                  <a:pt x="272" y="0"/>
                </a:moveTo>
                <a:lnTo>
                  <a:pt x="0" y="159"/>
                </a:lnTo>
                <a:lnTo>
                  <a:pt x="272" y="317"/>
                </a:lnTo>
                <a:lnTo>
                  <a:pt x="544" y="159"/>
                </a:lnTo>
                <a:lnTo>
                  <a:pt x="272" y="0"/>
                </a:lnTo>
                <a:close/>
              </a:path>
            </a:pathLst>
          </a:custGeom>
          <a:gradFill>
            <a:gsLst>
              <a:gs pos="0">
                <a:srgbClr val="FEA044"/>
              </a:gs>
              <a:gs pos="100000">
                <a:srgbClr val="FE9842"/>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6" name="Freeform 22"/>
          <p:cNvSpPr>
            <a:spLocks/>
          </p:cNvSpPr>
          <p:nvPr userDrawn="1"/>
        </p:nvSpPr>
        <p:spPr bwMode="auto">
          <a:xfrm>
            <a:off x="735979" y="4285578"/>
            <a:ext cx="365303" cy="425605"/>
          </a:xfrm>
          <a:custGeom>
            <a:avLst/>
            <a:gdLst>
              <a:gd name="T0" fmla="*/ 0 w 272"/>
              <a:gd name="T1" fmla="*/ 317 h 317"/>
              <a:gd name="T2" fmla="*/ 272 w 272"/>
              <a:gd name="T3" fmla="*/ 158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8"/>
                </a:lnTo>
                <a:lnTo>
                  <a:pt x="0" y="0"/>
                </a:lnTo>
                <a:lnTo>
                  <a:pt x="0" y="317"/>
                </a:lnTo>
                <a:close/>
              </a:path>
            </a:pathLst>
          </a:custGeom>
          <a:gradFill>
            <a:gsLst>
              <a:gs pos="0">
                <a:srgbClr val="C45844"/>
              </a:gs>
              <a:gs pos="100000">
                <a:srgbClr val="B1544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7" name="Freeform 23"/>
          <p:cNvSpPr>
            <a:spLocks/>
          </p:cNvSpPr>
          <p:nvPr userDrawn="1"/>
        </p:nvSpPr>
        <p:spPr bwMode="auto">
          <a:xfrm>
            <a:off x="4806694" y="6004106"/>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523E64"/>
              </a:gs>
              <a:gs pos="100000">
                <a:srgbClr val="413A6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8" name="Freeform 24"/>
          <p:cNvSpPr>
            <a:spLocks/>
          </p:cNvSpPr>
          <p:nvPr userDrawn="1"/>
        </p:nvSpPr>
        <p:spPr bwMode="auto">
          <a:xfrm>
            <a:off x="1107998" y="5997393"/>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523E64"/>
              </a:gs>
              <a:gs pos="100000">
                <a:srgbClr val="413A6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29" name="Freeform 25"/>
          <p:cNvSpPr>
            <a:spLocks/>
          </p:cNvSpPr>
          <p:nvPr userDrawn="1"/>
        </p:nvSpPr>
        <p:spPr bwMode="auto">
          <a:xfrm>
            <a:off x="4431989" y="0"/>
            <a:ext cx="365303" cy="639077"/>
          </a:xfrm>
          <a:custGeom>
            <a:avLst/>
            <a:gdLst>
              <a:gd name="T0" fmla="*/ 272 w 272"/>
              <a:gd name="T1" fmla="*/ 476 h 476"/>
              <a:gd name="T2" fmla="*/ 0 w 272"/>
              <a:gd name="T3" fmla="*/ 322 h 476"/>
              <a:gd name="T4" fmla="*/ 0 w 272"/>
              <a:gd name="T5" fmla="*/ 0 h 476"/>
              <a:gd name="T6" fmla="*/ 272 w 272"/>
              <a:gd name="T7" fmla="*/ 159 h 476"/>
              <a:gd name="T8" fmla="*/ 272 w 272"/>
              <a:gd name="T9" fmla="*/ 476 h 476"/>
            </a:gdLst>
            <a:ahLst/>
            <a:cxnLst>
              <a:cxn ang="0">
                <a:pos x="T0" y="T1"/>
              </a:cxn>
              <a:cxn ang="0">
                <a:pos x="T2" y="T3"/>
              </a:cxn>
              <a:cxn ang="0">
                <a:pos x="T4" y="T5"/>
              </a:cxn>
              <a:cxn ang="0">
                <a:pos x="T6" y="T7"/>
              </a:cxn>
              <a:cxn ang="0">
                <a:pos x="T8" y="T9"/>
              </a:cxn>
            </a:cxnLst>
            <a:rect l="0" t="0" r="r" b="b"/>
            <a:pathLst>
              <a:path w="272" h="476">
                <a:moveTo>
                  <a:pt x="272" y="476"/>
                </a:moveTo>
                <a:lnTo>
                  <a:pt x="0" y="322"/>
                </a:lnTo>
                <a:lnTo>
                  <a:pt x="0" y="0"/>
                </a:lnTo>
                <a:lnTo>
                  <a:pt x="272" y="159"/>
                </a:lnTo>
                <a:lnTo>
                  <a:pt x="272" y="476"/>
                </a:lnTo>
                <a:close/>
              </a:path>
            </a:pathLst>
          </a:custGeom>
          <a:gradFill>
            <a:gsLst>
              <a:gs pos="0">
                <a:srgbClr val="FDBB4C"/>
              </a:gs>
              <a:gs pos="100000">
                <a:srgbClr val="FDAE49"/>
              </a:gs>
            </a:gsLst>
            <a:lin ang="5400000" scaled="1"/>
          </a:gradFill>
          <a:ln>
            <a:noFill/>
          </a:ln>
        </p:spPr>
        <p:txBody>
          <a:bodyPr vert="horz" wrap="square" lIns="91440" tIns="45720" rIns="91440" bIns="45720" numCol="1" anchor="t" anchorCtr="0" compatLnSpc="1">
            <a:prstTxWarp prst="textNoShape">
              <a:avLst/>
            </a:prstTxWarp>
          </a:bodyPr>
          <a:lstStyle/>
          <a:p>
            <a:pPr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0" name="Freeform 27"/>
          <p:cNvSpPr>
            <a:spLocks/>
          </p:cNvSpPr>
          <p:nvPr userDrawn="1"/>
        </p:nvSpPr>
        <p:spPr bwMode="auto">
          <a:xfrm>
            <a:off x="1482702" y="436345"/>
            <a:ext cx="365303" cy="635050"/>
          </a:xfrm>
          <a:custGeom>
            <a:avLst/>
            <a:gdLst>
              <a:gd name="T0" fmla="*/ 272 w 272"/>
              <a:gd name="T1" fmla="*/ 158 h 473"/>
              <a:gd name="T2" fmla="*/ 0 w 272"/>
              <a:gd name="T3" fmla="*/ 0 h 473"/>
              <a:gd name="T4" fmla="*/ 0 w 272"/>
              <a:gd name="T5" fmla="*/ 317 h 473"/>
              <a:gd name="T6" fmla="*/ 272 w 272"/>
              <a:gd name="T7" fmla="*/ 473 h 473"/>
              <a:gd name="T8" fmla="*/ 272 w 272"/>
              <a:gd name="T9" fmla="*/ 158 h 473"/>
            </a:gdLst>
            <a:ahLst/>
            <a:cxnLst>
              <a:cxn ang="0">
                <a:pos x="T0" y="T1"/>
              </a:cxn>
              <a:cxn ang="0">
                <a:pos x="T2" y="T3"/>
              </a:cxn>
              <a:cxn ang="0">
                <a:pos x="T4" y="T5"/>
              </a:cxn>
              <a:cxn ang="0">
                <a:pos x="T6" y="T7"/>
              </a:cxn>
              <a:cxn ang="0">
                <a:pos x="T8" y="T9"/>
              </a:cxn>
            </a:cxnLst>
            <a:rect l="0" t="0" r="r" b="b"/>
            <a:pathLst>
              <a:path w="272" h="473">
                <a:moveTo>
                  <a:pt x="272" y="158"/>
                </a:moveTo>
                <a:lnTo>
                  <a:pt x="0" y="0"/>
                </a:lnTo>
                <a:lnTo>
                  <a:pt x="0" y="317"/>
                </a:lnTo>
                <a:lnTo>
                  <a:pt x="272" y="473"/>
                </a:lnTo>
                <a:lnTo>
                  <a:pt x="272" y="158"/>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1" name="Freeform 28"/>
          <p:cNvSpPr>
            <a:spLocks/>
          </p:cNvSpPr>
          <p:nvPr userDrawn="1"/>
        </p:nvSpPr>
        <p:spPr bwMode="auto">
          <a:xfrm>
            <a:off x="5171997" y="648476"/>
            <a:ext cx="729264" cy="641763"/>
          </a:xfrm>
          <a:custGeom>
            <a:avLst/>
            <a:gdLst>
              <a:gd name="T0" fmla="*/ 272 w 543"/>
              <a:gd name="T1" fmla="*/ 0 h 478"/>
              <a:gd name="T2" fmla="*/ 0 w 543"/>
              <a:gd name="T3" fmla="*/ 159 h 478"/>
              <a:gd name="T4" fmla="*/ 0 w 543"/>
              <a:gd name="T5" fmla="*/ 478 h 478"/>
              <a:gd name="T6" fmla="*/ 272 w 543"/>
              <a:gd name="T7" fmla="*/ 319 h 478"/>
              <a:gd name="T8" fmla="*/ 543 w 543"/>
              <a:gd name="T9" fmla="*/ 159 h 478"/>
              <a:gd name="T10" fmla="*/ 272 w 543"/>
              <a:gd name="T11" fmla="*/ 0 h 478"/>
            </a:gdLst>
            <a:ahLst/>
            <a:cxnLst>
              <a:cxn ang="0">
                <a:pos x="T0" y="T1"/>
              </a:cxn>
              <a:cxn ang="0">
                <a:pos x="T2" y="T3"/>
              </a:cxn>
              <a:cxn ang="0">
                <a:pos x="T4" y="T5"/>
              </a:cxn>
              <a:cxn ang="0">
                <a:pos x="T6" y="T7"/>
              </a:cxn>
              <a:cxn ang="0">
                <a:pos x="T8" y="T9"/>
              </a:cxn>
              <a:cxn ang="0">
                <a:pos x="T10" y="T11"/>
              </a:cxn>
            </a:cxnLst>
            <a:rect l="0" t="0" r="r" b="b"/>
            <a:pathLst>
              <a:path w="543" h="478">
                <a:moveTo>
                  <a:pt x="272" y="0"/>
                </a:moveTo>
                <a:lnTo>
                  <a:pt x="0" y="159"/>
                </a:lnTo>
                <a:lnTo>
                  <a:pt x="0" y="478"/>
                </a:lnTo>
                <a:lnTo>
                  <a:pt x="272" y="319"/>
                </a:lnTo>
                <a:lnTo>
                  <a:pt x="543" y="159"/>
                </a:lnTo>
                <a:lnTo>
                  <a:pt x="272" y="0"/>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2" name="Freeform 29"/>
          <p:cNvSpPr>
            <a:spLocks/>
          </p:cNvSpPr>
          <p:nvPr userDrawn="1"/>
        </p:nvSpPr>
        <p:spPr bwMode="auto">
          <a:xfrm>
            <a:off x="4066686" y="2360290"/>
            <a:ext cx="730607" cy="641763"/>
          </a:xfrm>
          <a:custGeom>
            <a:avLst/>
            <a:gdLst>
              <a:gd name="T0" fmla="*/ 272 w 544"/>
              <a:gd name="T1" fmla="*/ 478 h 478"/>
              <a:gd name="T2" fmla="*/ 0 w 544"/>
              <a:gd name="T3" fmla="*/ 320 h 478"/>
              <a:gd name="T4" fmla="*/ 0 w 544"/>
              <a:gd name="T5" fmla="*/ 0 h 478"/>
              <a:gd name="T6" fmla="*/ 272 w 544"/>
              <a:gd name="T7" fmla="*/ 159 h 478"/>
              <a:gd name="T8" fmla="*/ 544 w 544"/>
              <a:gd name="T9" fmla="*/ 320 h 478"/>
              <a:gd name="T10" fmla="*/ 272 w 544"/>
              <a:gd name="T11" fmla="*/ 478 h 478"/>
            </a:gdLst>
            <a:ahLst/>
            <a:cxnLst>
              <a:cxn ang="0">
                <a:pos x="T0" y="T1"/>
              </a:cxn>
              <a:cxn ang="0">
                <a:pos x="T2" y="T3"/>
              </a:cxn>
              <a:cxn ang="0">
                <a:pos x="T4" y="T5"/>
              </a:cxn>
              <a:cxn ang="0">
                <a:pos x="T6" y="T7"/>
              </a:cxn>
              <a:cxn ang="0">
                <a:pos x="T8" y="T9"/>
              </a:cxn>
              <a:cxn ang="0">
                <a:pos x="T10" y="T11"/>
              </a:cxn>
            </a:cxnLst>
            <a:rect l="0" t="0" r="r" b="b"/>
            <a:pathLst>
              <a:path w="544" h="478">
                <a:moveTo>
                  <a:pt x="272" y="478"/>
                </a:moveTo>
                <a:lnTo>
                  <a:pt x="0" y="320"/>
                </a:lnTo>
                <a:lnTo>
                  <a:pt x="0" y="0"/>
                </a:lnTo>
                <a:lnTo>
                  <a:pt x="272" y="159"/>
                </a:lnTo>
                <a:lnTo>
                  <a:pt x="544" y="320"/>
                </a:lnTo>
                <a:lnTo>
                  <a:pt x="272" y="478"/>
                </a:lnTo>
                <a:close/>
              </a:path>
            </a:pathLst>
          </a:custGeom>
          <a:gradFill>
            <a:gsLst>
              <a:gs pos="0">
                <a:srgbClr val="FE7F3A"/>
              </a:gs>
              <a:gs pos="100000">
                <a:srgbClr val="FF6D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3" name="Picture Placeholder 37">
            <a:extLst>
              <a:ext uri="{FF2B5EF4-FFF2-40B4-BE49-F238E27FC236}">
                <a16:creationId xmlns:a16="http://schemas.microsoft.com/office/drawing/2014/main" id="{B27FB25A-25C1-1145-91A1-08CB3FC40AE3}"/>
              </a:ext>
            </a:extLst>
          </p:cNvPr>
          <p:cNvSpPr>
            <a:spLocks noGrp="1"/>
          </p:cNvSpPr>
          <p:nvPr>
            <p:ph type="pic" sz="quarter" idx="10"/>
          </p:nvPr>
        </p:nvSpPr>
        <p:spPr>
          <a:xfrm>
            <a:off x="2" y="0"/>
            <a:ext cx="7121235" cy="6857999"/>
          </a:xfrm>
          <a:custGeom>
            <a:avLst/>
            <a:gdLst>
              <a:gd name="connsiteX0" fmla="*/ 1467955 w 7121235"/>
              <a:gd name="connsiteY0" fmla="*/ 6003620 h 6857999"/>
              <a:gd name="connsiteX1" fmla="*/ 1113343 w 7121235"/>
              <a:gd name="connsiteY1" fmla="*/ 6209544 h 6857999"/>
              <a:gd name="connsiteX2" fmla="*/ 1467955 w 7121235"/>
              <a:gd name="connsiteY2" fmla="*/ 6416770 h 6857999"/>
              <a:gd name="connsiteX3" fmla="*/ 4431990 w 7121235"/>
              <a:gd name="connsiteY3" fmla="*/ 5571788 h 6857999"/>
              <a:gd name="connsiteX4" fmla="*/ 4797292 w 7121235"/>
              <a:gd name="connsiteY4" fmla="*/ 5783919 h 6857999"/>
              <a:gd name="connsiteX5" fmla="*/ 4431990 w 7121235"/>
              <a:gd name="connsiteY5" fmla="*/ 5997393 h 6857999"/>
              <a:gd name="connsiteX6" fmla="*/ 370677 w 7121235"/>
              <a:gd name="connsiteY6" fmla="*/ 4927340 h 6857999"/>
              <a:gd name="connsiteX7" fmla="*/ 370677 w 7121235"/>
              <a:gd name="connsiteY7" fmla="*/ 5352945 h 6857999"/>
              <a:gd name="connsiteX8" fmla="*/ 2688 w 7121235"/>
              <a:gd name="connsiteY8" fmla="*/ 5139471 h 6857999"/>
              <a:gd name="connsiteX9" fmla="*/ 4434628 w 7121235"/>
              <a:gd name="connsiteY9" fmla="*/ 4724122 h 6857999"/>
              <a:gd name="connsiteX10" fmla="*/ 4434628 w 7121235"/>
              <a:gd name="connsiteY10" fmla="*/ 5137272 h 6857999"/>
              <a:gd name="connsiteX11" fmla="*/ 4787938 w 7121235"/>
              <a:gd name="connsiteY11" fmla="*/ 4930046 h 6857999"/>
              <a:gd name="connsiteX12" fmla="*/ 4812039 w 7121235"/>
              <a:gd name="connsiteY12" fmla="*/ 4078332 h 6857999"/>
              <a:gd name="connsiteX13" fmla="*/ 4812039 w 7121235"/>
              <a:gd name="connsiteY13" fmla="*/ 4491482 h 6857999"/>
              <a:gd name="connsiteX14" fmla="*/ 5166651 w 7121235"/>
              <a:gd name="connsiteY14" fmla="*/ 4285559 h 6857999"/>
              <a:gd name="connsiteX15" fmla="*/ 6275966 w 7121235"/>
              <a:gd name="connsiteY15" fmla="*/ 3218212 h 6857999"/>
              <a:gd name="connsiteX16" fmla="*/ 6275966 w 7121235"/>
              <a:gd name="connsiteY16" fmla="*/ 3643816 h 6857999"/>
              <a:gd name="connsiteX17" fmla="*/ 5912006 w 7121235"/>
              <a:gd name="connsiteY17" fmla="*/ 3430342 h 6857999"/>
              <a:gd name="connsiteX18" fmla="*/ 370677 w 7121235"/>
              <a:gd name="connsiteY18" fmla="*/ 3218212 h 6857999"/>
              <a:gd name="connsiteX19" fmla="*/ 735980 w 7121235"/>
              <a:gd name="connsiteY19" fmla="*/ 3430342 h 6857999"/>
              <a:gd name="connsiteX20" fmla="*/ 735980 w 7121235"/>
              <a:gd name="connsiteY20" fmla="*/ 4285578 h 6857999"/>
              <a:gd name="connsiteX21" fmla="*/ 370677 w 7121235"/>
              <a:gd name="connsiteY21" fmla="*/ 4076133 h 6857999"/>
              <a:gd name="connsiteX22" fmla="*/ 1481333 w 7121235"/>
              <a:gd name="connsiteY22" fmla="*/ 2579992 h 6857999"/>
              <a:gd name="connsiteX23" fmla="*/ 1481333 w 7121235"/>
              <a:gd name="connsiteY23" fmla="*/ 2993142 h 6857999"/>
              <a:gd name="connsiteX24" fmla="*/ 1835945 w 7121235"/>
              <a:gd name="connsiteY24" fmla="*/ 2785915 h 6857999"/>
              <a:gd name="connsiteX25" fmla="*/ 4077377 w 7121235"/>
              <a:gd name="connsiteY25" fmla="*/ 2369681 h 6857999"/>
              <a:gd name="connsiteX26" fmla="*/ 4077377 w 7121235"/>
              <a:gd name="connsiteY26" fmla="*/ 2786739 h 6857999"/>
              <a:gd name="connsiteX27" fmla="*/ 4431989 w 7121235"/>
              <a:gd name="connsiteY27" fmla="*/ 2992661 h 6857999"/>
              <a:gd name="connsiteX28" fmla="*/ 4786601 w 7121235"/>
              <a:gd name="connsiteY28" fmla="*/ 2786739 h 6857999"/>
              <a:gd name="connsiteX29" fmla="*/ 4431989 w 7121235"/>
              <a:gd name="connsiteY29" fmla="*/ 2576907 h 6857999"/>
              <a:gd name="connsiteX30" fmla="*/ 1102652 w 7121235"/>
              <a:gd name="connsiteY30" fmla="*/ 1508656 h 6857999"/>
              <a:gd name="connsiteX31" fmla="*/ 748040 w 7121235"/>
              <a:gd name="connsiteY31" fmla="*/ 1718488 h 6857999"/>
              <a:gd name="connsiteX32" fmla="*/ 1102652 w 7121235"/>
              <a:gd name="connsiteY32" fmla="*/ 1925714 h 6857999"/>
              <a:gd name="connsiteX33" fmla="*/ 5171998 w 7121235"/>
              <a:gd name="connsiteY33" fmla="*/ 1290240 h 6857999"/>
              <a:gd name="connsiteX34" fmla="*/ 5537301 w 7121235"/>
              <a:gd name="connsiteY34" fmla="*/ 1502371 h 6857999"/>
              <a:gd name="connsiteX35" fmla="*/ 5171998 w 7121235"/>
              <a:gd name="connsiteY35" fmla="*/ 1715844 h 6857999"/>
              <a:gd name="connsiteX36" fmla="*/ 4066685 w 7121235"/>
              <a:gd name="connsiteY36" fmla="*/ 1080308 h 6857999"/>
              <a:gd name="connsiteX37" fmla="*/ 3712073 w 7121235"/>
              <a:gd name="connsiteY37" fmla="*/ 1287534 h 6857999"/>
              <a:gd name="connsiteX38" fmla="*/ 4066685 w 7121235"/>
              <a:gd name="connsiteY38" fmla="*/ 1493458 h 6857999"/>
              <a:gd name="connsiteX39" fmla="*/ 4421297 w 7121235"/>
              <a:gd name="connsiteY39" fmla="*/ 1287534 h 6857999"/>
              <a:gd name="connsiteX40" fmla="*/ 1122744 w 7121235"/>
              <a:gd name="connsiteY40" fmla="*/ 654703 h 6857999"/>
              <a:gd name="connsiteX41" fmla="*/ 1122744 w 7121235"/>
              <a:gd name="connsiteY41" fmla="*/ 1067854 h 6857999"/>
              <a:gd name="connsiteX42" fmla="*/ 1477356 w 7121235"/>
              <a:gd name="connsiteY42" fmla="*/ 861930 h 6857999"/>
              <a:gd name="connsiteX43" fmla="*/ 370677 w 7121235"/>
              <a:gd name="connsiteY43" fmla="*/ 645792 h 6857999"/>
              <a:gd name="connsiteX44" fmla="*/ 735980 w 7121235"/>
              <a:gd name="connsiteY44" fmla="*/ 857923 h 6857999"/>
              <a:gd name="connsiteX45" fmla="*/ 370677 w 7121235"/>
              <a:gd name="connsiteY45" fmla="*/ 1071397 h 6857999"/>
              <a:gd name="connsiteX46" fmla="*/ 1488047 w 7121235"/>
              <a:gd name="connsiteY46" fmla="*/ 445638 h 6857999"/>
              <a:gd name="connsiteX47" fmla="*/ 1488047 w 7121235"/>
              <a:gd name="connsiteY47" fmla="*/ 858785 h 6857999"/>
              <a:gd name="connsiteX48" fmla="*/ 1842659 w 7121235"/>
              <a:gd name="connsiteY48" fmla="*/ 1062100 h 6857999"/>
              <a:gd name="connsiteX49" fmla="*/ 1842659 w 7121235"/>
              <a:gd name="connsiteY49" fmla="*/ 651560 h 6857999"/>
              <a:gd name="connsiteX50" fmla="*/ 2 w 7121235"/>
              <a:gd name="connsiteY50" fmla="*/ 1 h 6857999"/>
              <a:gd name="connsiteX51" fmla="*/ 2 w 7121235"/>
              <a:gd name="connsiteY51" fmla="*/ 4285577 h 6857999"/>
              <a:gd name="connsiteX52" fmla="*/ 2 w 7121235"/>
              <a:gd name="connsiteY52" fmla="*/ 4292290 h 6857999"/>
              <a:gd name="connsiteX53" fmla="*/ 365306 w 7121235"/>
              <a:gd name="connsiteY53" fmla="*/ 4504421 h 6857999"/>
              <a:gd name="connsiteX54" fmla="*/ 2 w 7121235"/>
              <a:gd name="connsiteY54" fmla="*/ 4717894 h 6857999"/>
              <a:gd name="connsiteX55" fmla="*/ 2 w 7121235"/>
              <a:gd name="connsiteY55" fmla="*/ 6857998 h 6857999"/>
              <a:gd name="connsiteX56" fmla="*/ 738668 w 7121235"/>
              <a:gd name="connsiteY56" fmla="*/ 6857998 h 6857999"/>
              <a:gd name="connsiteX57" fmla="*/ 738668 w 7121235"/>
              <a:gd name="connsiteY57" fmla="*/ 6425681 h 6857999"/>
              <a:gd name="connsiteX58" fmla="*/ 367992 w 7121235"/>
              <a:gd name="connsiteY58" fmla="*/ 6641840 h 6857999"/>
              <a:gd name="connsiteX59" fmla="*/ 367992 w 7121235"/>
              <a:gd name="connsiteY59" fmla="*/ 6216236 h 6857999"/>
              <a:gd name="connsiteX60" fmla="*/ 1108000 w 7121235"/>
              <a:gd name="connsiteY60" fmla="*/ 5783919 h 6857999"/>
              <a:gd name="connsiteX61" fmla="*/ 1108000 w 7121235"/>
              <a:gd name="connsiteY61" fmla="*/ 2789923 h 6857999"/>
              <a:gd name="connsiteX62" fmla="*/ 735981 w 7121235"/>
              <a:gd name="connsiteY62" fmla="*/ 2573765 h 6857999"/>
              <a:gd name="connsiteX63" fmla="*/ 735981 w 7121235"/>
              <a:gd name="connsiteY63" fmla="*/ 2141448 h 6857999"/>
              <a:gd name="connsiteX64" fmla="*/ 367992 w 7121235"/>
              <a:gd name="connsiteY64" fmla="*/ 1927974 h 6857999"/>
              <a:gd name="connsiteX65" fmla="*/ 367992 w 7121235"/>
              <a:gd name="connsiteY65" fmla="*/ 1499685 h 6857999"/>
              <a:gd name="connsiteX66" fmla="*/ 738668 w 7121235"/>
              <a:gd name="connsiteY66" fmla="*/ 1287554 h 6857999"/>
              <a:gd name="connsiteX67" fmla="*/ 738668 w 7121235"/>
              <a:gd name="connsiteY67" fmla="*/ 1 h 6857999"/>
              <a:gd name="connsiteX68" fmla="*/ 735981 w 7121235"/>
              <a:gd name="connsiteY68" fmla="*/ 1 h 6857999"/>
              <a:gd name="connsiteX69" fmla="*/ 0 w 7121235"/>
              <a:gd name="connsiteY69" fmla="*/ 0 h 6857999"/>
              <a:gd name="connsiteX70" fmla="*/ 7121235 w 7121235"/>
              <a:gd name="connsiteY70" fmla="*/ 0 h 6857999"/>
              <a:gd name="connsiteX71" fmla="*/ 7121235 w 7121235"/>
              <a:gd name="connsiteY71" fmla="*/ 1 h 6857999"/>
              <a:gd name="connsiteX72" fmla="*/ 2958692 w 7121235"/>
              <a:gd name="connsiteY72" fmla="*/ 1 h 6857999"/>
              <a:gd name="connsiteX73" fmla="*/ 4431990 w 7121235"/>
              <a:gd name="connsiteY73" fmla="*/ 857922 h 6857999"/>
              <a:gd name="connsiteX74" fmla="*/ 4431990 w 7121235"/>
              <a:gd name="connsiteY74" fmla="*/ 1292925 h 6857999"/>
              <a:gd name="connsiteX75" fmla="*/ 4793265 w 7121235"/>
              <a:gd name="connsiteY75" fmla="*/ 1502370 h 6857999"/>
              <a:gd name="connsiteX76" fmla="*/ 4793265 w 7121235"/>
              <a:gd name="connsiteY76" fmla="*/ 1934687 h 6857999"/>
              <a:gd name="connsiteX77" fmla="*/ 5165283 w 7121235"/>
              <a:gd name="connsiteY77" fmla="*/ 2148161 h 6857999"/>
              <a:gd name="connsiteX78" fmla="*/ 5165283 w 7121235"/>
              <a:gd name="connsiteY78" fmla="*/ 3427657 h 6857999"/>
              <a:gd name="connsiteX79" fmla="*/ 5537301 w 7121235"/>
              <a:gd name="connsiteY79" fmla="*/ 3641129 h 6857999"/>
              <a:gd name="connsiteX80" fmla="*/ 5537301 w 7121235"/>
              <a:gd name="connsiteY80" fmla="*/ 4927340 h 6857999"/>
              <a:gd name="connsiteX81" fmla="*/ 3691984 w 7121235"/>
              <a:gd name="connsiteY81" fmla="*/ 6000077 h 6857999"/>
              <a:gd name="connsiteX82" fmla="*/ 3691984 w 7121235"/>
              <a:gd name="connsiteY82" fmla="*/ 6848600 h 6857999"/>
              <a:gd name="connsiteX83" fmla="*/ 3691984 w 7121235"/>
              <a:gd name="connsiteY83" fmla="*/ 6857998 h 6857999"/>
              <a:gd name="connsiteX84" fmla="*/ 4431990 w 7121235"/>
              <a:gd name="connsiteY84" fmla="*/ 6857998 h 6857999"/>
              <a:gd name="connsiteX85" fmla="*/ 4431990 w 7121235"/>
              <a:gd name="connsiteY85" fmla="*/ 6429709 h 6857999"/>
              <a:gd name="connsiteX86" fmla="*/ 4797292 w 7121235"/>
              <a:gd name="connsiteY86" fmla="*/ 6641840 h 6857999"/>
              <a:gd name="connsiteX87" fmla="*/ 4431992 w 7121235"/>
              <a:gd name="connsiteY87" fmla="*/ 6857998 h 6857999"/>
              <a:gd name="connsiteX88" fmla="*/ 7121235 w 7121235"/>
              <a:gd name="connsiteY88" fmla="*/ 6857998 h 6857999"/>
              <a:gd name="connsiteX89" fmla="*/ 7121235 w 7121235"/>
              <a:gd name="connsiteY89" fmla="*/ 6857999 h 6857999"/>
              <a:gd name="connsiteX90" fmla="*/ 0 w 7121235"/>
              <a:gd name="connsiteY9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21235" h="6857999">
                <a:moveTo>
                  <a:pt x="1467955" y="6003620"/>
                </a:moveTo>
                <a:lnTo>
                  <a:pt x="1113343" y="6209544"/>
                </a:lnTo>
                <a:lnTo>
                  <a:pt x="1467955" y="6416770"/>
                </a:lnTo>
                <a:close/>
                <a:moveTo>
                  <a:pt x="4431990" y="5571788"/>
                </a:moveTo>
                <a:lnTo>
                  <a:pt x="4797292" y="5783919"/>
                </a:lnTo>
                <a:lnTo>
                  <a:pt x="4431990" y="5997393"/>
                </a:lnTo>
                <a:close/>
                <a:moveTo>
                  <a:pt x="370677" y="4927340"/>
                </a:moveTo>
                <a:lnTo>
                  <a:pt x="370677" y="5352945"/>
                </a:lnTo>
                <a:lnTo>
                  <a:pt x="2688" y="5139471"/>
                </a:lnTo>
                <a:close/>
                <a:moveTo>
                  <a:pt x="4434628" y="4724122"/>
                </a:moveTo>
                <a:lnTo>
                  <a:pt x="4434628" y="5137272"/>
                </a:lnTo>
                <a:lnTo>
                  <a:pt x="4787938" y="4930046"/>
                </a:lnTo>
                <a:close/>
                <a:moveTo>
                  <a:pt x="4812039" y="4078332"/>
                </a:moveTo>
                <a:lnTo>
                  <a:pt x="4812039" y="4491482"/>
                </a:lnTo>
                <a:lnTo>
                  <a:pt x="5166651" y="4285559"/>
                </a:lnTo>
                <a:close/>
                <a:moveTo>
                  <a:pt x="6275966" y="3218212"/>
                </a:moveTo>
                <a:lnTo>
                  <a:pt x="6275966" y="3643816"/>
                </a:lnTo>
                <a:lnTo>
                  <a:pt x="5912006" y="3430342"/>
                </a:lnTo>
                <a:close/>
                <a:moveTo>
                  <a:pt x="370677" y="3218212"/>
                </a:moveTo>
                <a:lnTo>
                  <a:pt x="735980" y="3430342"/>
                </a:lnTo>
                <a:lnTo>
                  <a:pt x="735980" y="4285578"/>
                </a:lnTo>
                <a:lnTo>
                  <a:pt x="370677" y="4076133"/>
                </a:lnTo>
                <a:close/>
                <a:moveTo>
                  <a:pt x="1481333" y="2579992"/>
                </a:moveTo>
                <a:lnTo>
                  <a:pt x="1481333" y="2993142"/>
                </a:lnTo>
                <a:lnTo>
                  <a:pt x="1835945" y="2785915"/>
                </a:lnTo>
                <a:close/>
                <a:moveTo>
                  <a:pt x="4077377" y="2369681"/>
                </a:moveTo>
                <a:lnTo>
                  <a:pt x="4077377" y="2786739"/>
                </a:lnTo>
                <a:lnTo>
                  <a:pt x="4431989" y="2992661"/>
                </a:lnTo>
                <a:lnTo>
                  <a:pt x="4786601" y="2786739"/>
                </a:lnTo>
                <a:lnTo>
                  <a:pt x="4431989" y="2576907"/>
                </a:lnTo>
                <a:close/>
                <a:moveTo>
                  <a:pt x="1102652" y="1508656"/>
                </a:moveTo>
                <a:lnTo>
                  <a:pt x="748040" y="1718488"/>
                </a:lnTo>
                <a:lnTo>
                  <a:pt x="1102652" y="1925714"/>
                </a:lnTo>
                <a:close/>
                <a:moveTo>
                  <a:pt x="5171998" y="1290240"/>
                </a:moveTo>
                <a:lnTo>
                  <a:pt x="5537301" y="1502371"/>
                </a:lnTo>
                <a:lnTo>
                  <a:pt x="5171998" y="1715844"/>
                </a:lnTo>
                <a:close/>
                <a:moveTo>
                  <a:pt x="4066685" y="1080308"/>
                </a:moveTo>
                <a:lnTo>
                  <a:pt x="3712073" y="1287534"/>
                </a:lnTo>
                <a:lnTo>
                  <a:pt x="4066685" y="1493458"/>
                </a:lnTo>
                <a:lnTo>
                  <a:pt x="4421297" y="1287534"/>
                </a:lnTo>
                <a:close/>
                <a:moveTo>
                  <a:pt x="1122744" y="654703"/>
                </a:moveTo>
                <a:lnTo>
                  <a:pt x="1122744" y="1067854"/>
                </a:lnTo>
                <a:lnTo>
                  <a:pt x="1477356" y="861930"/>
                </a:lnTo>
                <a:close/>
                <a:moveTo>
                  <a:pt x="370677" y="645792"/>
                </a:moveTo>
                <a:lnTo>
                  <a:pt x="735980" y="857923"/>
                </a:lnTo>
                <a:lnTo>
                  <a:pt x="370677" y="1071397"/>
                </a:lnTo>
                <a:close/>
                <a:moveTo>
                  <a:pt x="1488047" y="445638"/>
                </a:moveTo>
                <a:lnTo>
                  <a:pt x="1488047" y="858785"/>
                </a:lnTo>
                <a:lnTo>
                  <a:pt x="1842659" y="1062100"/>
                </a:lnTo>
                <a:lnTo>
                  <a:pt x="1842659" y="651560"/>
                </a:lnTo>
                <a:close/>
                <a:moveTo>
                  <a:pt x="2" y="1"/>
                </a:moveTo>
                <a:lnTo>
                  <a:pt x="2" y="4285577"/>
                </a:lnTo>
                <a:lnTo>
                  <a:pt x="2" y="4292290"/>
                </a:lnTo>
                <a:lnTo>
                  <a:pt x="365306" y="4504421"/>
                </a:lnTo>
                <a:lnTo>
                  <a:pt x="2" y="4717894"/>
                </a:lnTo>
                <a:lnTo>
                  <a:pt x="2" y="6857998"/>
                </a:lnTo>
                <a:lnTo>
                  <a:pt x="738668" y="6857998"/>
                </a:lnTo>
                <a:lnTo>
                  <a:pt x="738668" y="6425681"/>
                </a:lnTo>
                <a:lnTo>
                  <a:pt x="367992" y="6641840"/>
                </a:lnTo>
                <a:lnTo>
                  <a:pt x="367992" y="6216236"/>
                </a:lnTo>
                <a:lnTo>
                  <a:pt x="1108000" y="5783919"/>
                </a:lnTo>
                <a:lnTo>
                  <a:pt x="1108000" y="2789923"/>
                </a:lnTo>
                <a:lnTo>
                  <a:pt x="735981" y="2573765"/>
                </a:lnTo>
                <a:lnTo>
                  <a:pt x="735981" y="2141448"/>
                </a:lnTo>
                <a:lnTo>
                  <a:pt x="367992" y="1927974"/>
                </a:lnTo>
                <a:lnTo>
                  <a:pt x="367992" y="1499685"/>
                </a:lnTo>
                <a:lnTo>
                  <a:pt x="738668" y="1287554"/>
                </a:lnTo>
                <a:lnTo>
                  <a:pt x="738668" y="1"/>
                </a:lnTo>
                <a:lnTo>
                  <a:pt x="735981" y="1"/>
                </a:lnTo>
                <a:close/>
                <a:moveTo>
                  <a:pt x="0" y="0"/>
                </a:moveTo>
                <a:lnTo>
                  <a:pt x="7121235" y="0"/>
                </a:lnTo>
                <a:lnTo>
                  <a:pt x="7121235" y="1"/>
                </a:lnTo>
                <a:lnTo>
                  <a:pt x="2958692" y="1"/>
                </a:lnTo>
                <a:lnTo>
                  <a:pt x="4431990" y="857922"/>
                </a:lnTo>
                <a:lnTo>
                  <a:pt x="4431990" y="1292925"/>
                </a:lnTo>
                <a:lnTo>
                  <a:pt x="4793265" y="1502370"/>
                </a:lnTo>
                <a:lnTo>
                  <a:pt x="4793265" y="1934687"/>
                </a:lnTo>
                <a:lnTo>
                  <a:pt x="5165283" y="2148161"/>
                </a:lnTo>
                <a:lnTo>
                  <a:pt x="5165283" y="3427657"/>
                </a:lnTo>
                <a:lnTo>
                  <a:pt x="5537301" y="3641129"/>
                </a:lnTo>
                <a:lnTo>
                  <a:pt x="5537301" y="4927340"/>
                </a:lnTo>
                <a:lnTo>
                  <a:pt x="3691984" y="6000077"/>
                </a:lnTo>
                <a:lnTo>
                  <a:pt x="3691984" y="6848600"/>
                </a:lnTo>
                <a:lnTo>
                  <a:pt x="3691984" y="6857998"/>
                </a:lnTo>
                <a:lnTo>
                  <a:pt x="4431990" y="6857998"/>
                </a:lnTo>
                <a:lnTo>
                  <a:pt x="4431990" y="6429709"/>
                </a:lnTo>
                <a:lnTo>
                  <a:pt x="4797292" y="6641840"/>
                </a:lnTo>
                <a:lnTo>
                  <a:pt x="4431992" y="6857998"/>
                </a:lnTo>
                <a:lnTo>
                  <a:pt x="7121235" y="6857998"/>
                </a:lnTo>
                <a:lnTo>
                  <a:pt x="7121235" y="6857999"/>
                </a:lnTo>
                <a:lnTo>
                  <a:pt x="0" y="6857999"/>
                </a:lnTo>
                <a:close/>
              </a:path>
            </a:pathLst>
          </a:custGeom>
        </p:spPr>
        <p:txBody>
          <a:bodyPr wrap="square">
            <a:noAutofit/>
          </a:bodyPr>
          <a:lstStyle>
            <a:lvl1pPr marL="0" indent="0">
              <a:buNone/>
              <a:defRPr sz="120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to add picture</a:t>
            </a:r>
            <a:endParaRPr lang="ar-SA"/>
          </a:p>
        </p:txBody>
      </p:sp>
      <p:sp>
        <p:nvSpPr>
          <p:cNvPr id="34" name="Title 1">
            <a:extLst>
              <a:ext uri="{FF2B5EF4-FFF2-40B4-BE49-F238E27FC236}">
                <a16:creationId xmlns:a16="http://schemas.microsoft.com/office/drawing/2014/main" id="{31BBA778-64E4-9C4C-8806-1A8C377A972B}"/>
              </a:ext>
            </a:extLst>
          </p:cNvPr>
          <p:cNvSpPr>
            <a:spLocks noGrp="1"/>
          </p:cNvSpPr>
          <p:nvPr>
            <p:ph type="title" hasCustomPrompt="1"/>
          </p:nvPr>
        </p:nvSpPr>
        <p:spPr>
          <a:xfrm>
            <a:off x="7799185" y="1658320"/>
            <a:ext cx="3179763" cy="1913364"/>
          </a:xfrm>
        </p:spPr>
        <p:txBody>
          <a:bodyPr lIns="0" tIns="0" rIns="0" bIns="0" anchor="b">
            <a:noAutofit/>
          </a:bodyPr>
          <a:lstStyle>
            <a:lvl1pPr>
              <a:defRPr sz="4400" b="1">
                <a:latin typeface="Arial" panose="020B0604020202020204" pitchFamily="34" charset="0"/>
                <a:ea typeface="+mj-ea"/>
                <a:cs typeface="Arial" panose="020B0604020202020204" pitchFamily="34" charset="0"/>
                <a:sym typeface="Arial" panose="020B0604020202020204" pitchFamily="34" charset="0"/>
              </a:defRPr>
            </a:lvl1pPr>
          </a:lstStyle>
          <a:p>
            <a:r>
              <a:rPr lang="en-US"/>
              <a:t>Divider title goes here</a:t>
            </a:r>
            <a:endParaRPr lang="ar-SA"/>
          </a:p>
        </p:txBody>
      </p:sp>
      <p:sp>
        <p:nvSpPr>
          <p:cNvPr id="35" name="Text Placeholder 2">
            <a:extLst>
              <a:ext uri="{FF2B5EF4-FFF2-40B4-BE49-F238E27FC236}">
                <a16:creationId xmlns:a16="http://schemas.microsoft.com/office/drawing/2014/main" id="{F91C9796-CB07-194B-B62D-8AC12B657E13}"/>
              </a:ext>
            </a:extLst>
          </p:cNvPr>
          <p:cNvSpPr>
            <a:spLocks noGrp="1"/>
          </p:cNvSpPr>
          <p:nvPr>
            <p:ph type="body" idx="1" hasCustomPrompt="1"/>
          </p:nvPr>
        </p:nvSpPr>
        <p:spPr>
          <a:xfrm>
            <a:off x="7799184" y="3768851"/>
            <a:ext cx="3179763" cy="1140182"/>
          </a:xfrm>
        </p:spPr>
        <p:txBody>
          <a:bodyPr lIns="0" tIns="0" rIns="0" bIns="0">
            <a:noAutofit/>
          </a:bodyPr>
          <a:lstStyle>
            <a:lvl1pPr marL="0" indent="0">
              <a:buNone/>
              <a:defRPr sz="20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Tree>
    <p:extLst>
      <p:ext uri="{BB962C8B-B14F-4D97-AF65-F5344CB8AC3E}">
        <p14:creationId xmlns:p14="http://schemas.microsoft.com/office/powerpoint/2010/main" val="16739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6006" y="1333501"/>
            <a:ext cx="11134586" cy="4741863"/>
          </a:xfrm>
          <a:prstGeom prst="rect">
            <a:avLst/>
          </a:prstGeom>
        </p:spPr>
        <p:txBody>
          <a:bodyPr/>
          <a:lstStyle>
            <a:lvl1pPr marL="231752" indent="-231752" algn="l" defTabSz="914309" rtl="0" eaLnBrk="1" latinLnBrk="0" hangingPunct="1">
              <a:lnSpc>
                <a:spcPct val="120000"/>
              </a:lnSpc>
              <a:spcBef>
                <a:spcPts val="1000"/>
              </a:spcBef>
              <a:buClr>
                <a:schemeClr val="accent4"/>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solidFill>
                  <a:sysClr val="windowText" lastClr="000000"/>
                </a:solidFill>
              </a:rPr>
              <a:t>Level 1</a:t>
            </a:r>
            <a:endParaRPr lang="en-US"/>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a:t>Fifth level</a:t>
            </a:r>
          </a:p>
        </p:txBody>
      </p:sp>
    </p:spTree>
    <p:extLst>
      <p:ext uri="{BB962C8B-B14F-4D97-AF65-F5344CB8AC3E}">
        <p14:creationId xmlns:p14="http://schemas.microsoft.com/office/powerpoint/2010/main" val="973282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2585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8" name="Picture 17">
            <a:extLst>
              <a:ext uri="{FF2B5EF4-FFF2-40B4-BE49-F238E27FC236}">
                <a16:creationId xmlns:a16="http://schemas.microsoft.com/office/drawing/2014/main" id="{DFDDE4B7-1CAB-C84F-90FD-9F68D636888D}"/>
              </a:ext>
            </a:extLst>
          </p:cNvPr>
          <p:cNvPicPr>
            <a:picLocks noChangeAspect="1"/>
          </p:cNvPicPr>
          <p:nvPr userDrawn="1"/>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9338" y="538582"/>
            <a:ext cx="2207259" cy="825698"/>
          </a:xfrm>
          <a:prstGeom prst="rect">
            <a:avLst/>
          </a:prstGeom>
        </p:spPr>
      </p:pic>
      <p:sp>
        <p:nvSpPr>
          <p:cNvPr id="16" name="Title 1">
            <a:extLst>
              <a:ext uri="{FF2B5EF4-FFF2-40B4-BE49-F238E27FC236}">
                <a16:creationId xmlns:a16="http://schemas.microsoft.com/office/drawing/2014/main" id="{118B6C8E-8090-4E6B-AB72-A7933543EF90}"/>
              </a:ext>
            </a:extLst>
          </p:cNvPr>
          <p:cNvSpPr>
            <a:spLocks noGrp="1"/>
          </p:cNvSpPr>
          <p:nvPr>
            <p:ph type="ctrTitle" hasCustomPrompt="1"/>
          </p:nvPr>
        </p:nvSpPr>
        <p:spPr>
          <a:xfrm>
            <a:off x="695325" y="1715590"/>
            <a:ext cx="5400675" cy="1994624"/>
          </a:xfrm>
        </p:spPr>
        <p:txBody>
          <a:bodyPr lIns="0" tIns="0" rIns="0" bIns="0" anchor="b">
            <a:noAutofit/>
          </a:bodyPr>
          <a:lstStyle>
            <a:lvl1pPr algn="l">
              <a:defRPr sz="4400">
                <a:solidFill>
                  <a:schemeClr val="tx2"/>
                </a:solidFill>
                <a:latin typeface="+mj-lt"/>
                <a:ea typeface="+mj-ea"/>
                <a:cs typeface="+mj-cs"/>
                <a:sym typeface="+mj-lt"/>
              </a:defRPr>
            </a:lvl1pPr>
          </a:lstStyle>
          <a:p>
            <a:r>
              <a:rPr lang="en-US"/>
              <a:t>Presentation title goes here</a:t>
            </a:r>
            <a:endParaRPr lang="ar-SA"/>
          </a:p>
        </p:txBody>
      </p:sp>
      <p:sp>
        <p:nvSpPr>
          <p:cNvPr id="17" name="Subtitle 2">
            <a:extLst>
              <a:ext uri="{FF2B5EF4-FFF2-40B4-BE49-F238E27FC236}">
                <a16:creationId xmlns:a16="http://schemas.microsoft.com/office/drawing/2014/main" id="{4D5EE6E8-A3DF-421A-AFA2-A19B30A699D8}"/>
              </a:ext>
            </a:extLst>
          </p:cNvPr>
          <p:cNvSpPr>
            <a:spLocks noGrp="1"/>
          </p:cNvSpPr>
          <p:nvPr>
            <p:ph type="subTitle" idx="1" hasCustomPrompt="1"/>
          </p:nvPr>
        </p:nvSpPr>
        <p:spPr>
          <a:xfrm>
            <a:off x="695325" y="3878566"/>
            <a:ext cx="5400676" cy="863751"/>
          </a:xfrm>
        </p:spPr>
        <p:txBody>
          <a:bodyPr lIns="0" tIns="0" rIns="0" bIns="0">
            <a:noAutofit/>
          </a:bodyPr>
          <a:lstStyle>
            <a:lvl1pPr marL="0" indent="0" algn="l">
              <a:buNone/>
              <a:defRPr sz="2400">
                <a:solidFill>
                  <a:schemeClr val="tx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9" name="Text Placeholder 4">
            <a:extLst>
              <a:ext uri="{FF2B5EF4-FFF2-40B4-BE49-F238E27FC236}">
                <a16:creationId xmlns:a16="http://schemas.microsoft.com/office/drawing/2014/main" id="{9D229DDF-28A8-4374-8833-6BC778351496}"/>
              </a:ext>
            </a:extLst>
          </p:cNvPr>
          <p:cNvSpPr>
            <a:spLocks noGrp="1"/>
          </p:cNvSpPr>
          <p:nvPr>
            <p:ph type="body" sz="quarter" idx="13" hasCustomPrompt="1"/>
          </p:nvPr>
        </p:nvSpPr>
        <p:spPr>
          <a:xfrm>
            <a:off x="695325" y="5024348"/>
            <a:ext cx="5400675" cy="365125"/>
          </a:xfrm>
        </p:spPr>
        <p:txBody>
          <a:bodyPr/>
          <a:lstStyle>
            <a:lvl1pPr>
              <a:defRPr sz="1800"/>
            </a:lvl1pPr>
          </a:lstStyle>
          <a:p>
            <a:pPr lvl="0"/>
            <a:r>
              <a:rPr lang="en-US"/>
              <a:t>Date</a:t>
            </a:r>
          </a:p>
        </p:txBody>
      </p:sp>
      <p:pic>
        <p:nvPicPr>
          <p:cNvPr id="21" name="Picture 20">
            <a:extLst>
              <a:ext uri="{FF2B5EF4-FFF2-40B4-BE49-F238E27FC236}">
                <a16:creationId xmlns:a16="http://schemas.microsoft.com/office/drawing/2014/main" id="{76637089-851E-4A1D-BAAE-7C5AA19730E6}"/>
              </a:ext>
            </a:extLst>
          </p:cNvPr>
          <p:cNvPicPr>
            <a:picLocks noChangeAspect="1"/>
          </p:cNvPicPr>
          <p:nvPr userDrawn="1"/>
        </p:nvPicPr>
        <p:blipFill>
          <a:blip r:embed="rId8" cstate="email">
            <a:extLst>
              <a:ext uri="{28A0092B-C50C-407E-A947-70E740481C1C}">
                <a14:useLocalDpi xmlns:a14="http://schemas.microsoft.com/office/drawing/2010/main"/>
              </a:ext>
            </a:extLst>
          </a:blip>
          <a:srcRect/>
          <a:stretch/>
        </p:blipFill>
        <p:spPr>
          <a:xfrm>
            <a:off x="6869441" y="1539551"/>
            <a:ext cx="3869460" cy="3778898"/>
          </a:xfrm>
          <a:prstGeom prst="rect">
            <a:avLst/>
          </a:prstGeom>
        </p:spPr>
      </p:pic>
    </p:spTree>
    <p:extLst>
      <p:ext uri="{BB962C8B-B14F-4D97-AF65-F5344CB8AC3E}">
        <p14:creationId xmlns:p14="http://schemas.microsoft.com/office/powerpoint/2010/main" val="251471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20673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panose="020B0503020203050203" pitchFamily="34" charset="-78"/>
                <a:cs typeface="DIN Next LT Arabic" panose="020B0503020203050203" pitchFamily="34" charset="-78"/>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DIN Next LT Arabic" panose="020B0503020203050203" pitchFamily="34" charset="-78"/>
              <a:cs typeface="DIN Next LT Arabic" panose="020B0503020203050203" pitchFamily="34" charset="-78"/>
              <a:sym typeface="Arial" panose="020B0604020202020204" pitchFamily="34" charset="0"/>
            </a:endParaRPr>
          </a:p>
        </p:txBody>
      </p:sp>
      <p:pic>
        <p:nvPicPr>
          <p:cNvPr id="18" name="Picture 17">
            <a:extLst>
              <a:ext uri="{FF2B5EF4-FFF2-40B4-BE49-F238E27FC236}">
                <a16:creationId xmlns:a16="http://schemas.microsoft.com/office/drawing/2014/main" id="{DFDDE4B7-1CAB-C84F-90FD-9F68D636888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808180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621652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52"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2F22FD0-6596-4843-9D87-E0FE7F322A8B}"/>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1"/>
          <p:cNvSpPr>
            <a:spLocks/>
          </p:cNvSpPr>
          <p:nvPr userDrawn="1"/>
        </p:nvSpPr>
        <p:spPr bwMode="auto">
          <a:xfrm>
            <a:off x="2" y="1"/>
            <a:ext cx="12191999" cy="6857998"/>
          </a:xfrm>
          <a:custGeom>
            <a:avLst/>
            <a:gdLst>
              <a:gd name="connsiteX0" fmla="*/ 4431989 w 12191999"/>
              <a:gd name="connsiteY0" fmla="*/ 5571788 h 6857998"/>
              <a:gd name="connsiteX1" fmla="*/ 4431989 w 12191999"/>
              <a:gd name="connsiteY1" fmla="*/ 5997393 h 6857998"/>
              <a:gd name="connsiteX2" fmla="*/ 4797291 w 12191999"/>
              <a:gd name="connsiteY2" fmla="*/ 5783919 h 6857998"/>
              <a:gd name="connsiteX3" fmla="*/ 370675 w 12191999"/>
              <a:gd name="connsiteY3" fmla="*/ 4927340 h 6857998"/>
              <a:gd name="connsiteX4" fmla="*/ 2686 w 12191999"/>
              <a:gd name="connsiteY4" fmla="*/ 5139471 h 6857998"/>
              <a:gd name="connsiteX5" fmla="*/ 370675 w 12191999"/>
              <a:gd name="connsiteY5" fmla="*/ 5352945 h 6857998"/>
              <a:gd name="connsiteX6" fmla="*/ 6275965 w 12191999"/>
              <a:gd name="connsiteY6" fmla="*/ 3218211 h 6857998"/>
              <a:gd name="connsiteX7" fmla="*/ 5912005 w 12191999"/>
              <a:gd name="connsiteY7" fmla="*/ 3430342 h 6857998"/>
              <a:gd name="connsiteX8" fmla="*/ 6275965 w 12191999"/>
              <a:gd name="connsiteY8" fmla="*/ 3643816 h 6857998"/>
              <a:gd name="connsiteX9" fmla="*/ 370675 w 12191999"/>
              <a:gd name="connsiteY9" fmla="*/ 3218211 h 6857998"/>
              <a:gd name="connsiteX10" fmla="*/ 370675 w 12191999"/>
              <a:gd name="connsiteY10" fmla="*/ 4076133 h 6857998"/>
              <a:gd name="connsiteX11" fmla="*/ 735978 w 12191999"/>
              <a:gd name="connsiteY11" fmla="*/ 4285578 h 6857998"/>
              <a:gd name="connsiteX12" fmla="*/ 735978 w 12191999"/>
              <a:gd name="connsiteY12" fmla="*/ 3430342 h 6857998"/>
              <a:gd name="connsiteX13" fmla="*/ 5171997 w 12191999"/>
              <a:gd name="connsiteY13" fmla="*/ 1290239 h 6857998"/>
              <a:gd name="connsiteX14" fmla="*/ 5171997 w 12191999"/>
              <a:gd name="connsiteY14" fmla="*/ 1715843 h 6857998"/>
              <a:gd name="connsiteX15" fmla="*/ 5537299 w 12191999"/>
              <a:gd name="connsiteY15" fmla="*/ 1502370 h 6857998"/>
              <a:gd name="connsiteX16" fmla="*/ 370675 w 12191999"/>
              <a:gd name="connsiteY16" fmla="*/ 645791 h 6857998"/>
              <a:gd name="connsiteX17" fmla="*/ 370675 w 12191999"/>
              <a:gd name="connsiteY17" fmla="*/ 1071396 h 6857998"/>
              <a:gd name="connsiteX18" fmla="*/ 735978 w 12191999"/>
              <a:gd name="connsiteY18" fmla="*/ 857922 h 6857998"/>
              <a:gd name="connsiteX19" fmla="*/ 2958689 w 12191999"/>
              <a:gd name="connsiteY19" fmla="*/ 0 h 6857998"/>
              <a:gd name="connsiteX20" fmla="*/ 12191999 w 12191999"/>
              <a:gd name="connsiteY20" fmla="*/ 0 h 6857998"/>
              <a:gd name="connsiteX21" fmla="*/ 12191999 w 12191999"/>
              <a:gd name="connsiteY21" fmla="*/ 6857998 h 6857998"/>
              <a:gd name="connsiteX22" fmla="*/ 4431991 w 12191999"/>
              <a:gd name="connsiteY22" fmla="*/ 6857998 h 6857998"/>
              <a:gd name="connsiteX23" fmla="*/ 4797291 w 12191999"/>
              <a:gd name="connsiteY23" fmla="*/ 6641840 h 6857998"/>
              <a:gd name="connsiteX24" fmla="*/ 4431989 w 12191999"/>
              <a:gd name="connsiteY24" fmla="*/ 6429709 h 6857998"/>
              <a:gd name="connsiteX25" fmla="*/ 4431989 w 12191999"/>
              <a:gd name="connsiteY25" fmla="*/ 6857998 h 6857998"/>
              <a:gd name="connsiteX26" fmla="*/ 3691983 w 12191999"/>
              <a:gd name="connsiteY26" fmla="*/ 6857998 h 6857998"/>
              <a:gd name="connsiteX27" fmla="*/ 3691983 w 12191999"/>
              <a:gd name="connsiteY27" fmla="*/ 6848600 h 6857998"/>
              <a:gd name="connsiteX28" fmla="*/ 3691983 w 12191999"/>
              <a:gd name="connsiteY28" fmla="*/ 6000077 h 6857998"/>
              <a:gd name="connsiteX29" fmla="*/ 5537300 w 12191999"/>
              <a:gd name="connsiteY29" fmla="*/ 4927340 h 6857998"/>
              <a:gd name="connsiteX30" fmla="*/ 5537300 w 12191999"/>
              <a:gd name="connsiteY30" fmla="*/ 3641129 h 6857998"/>
              <a:gd name="connsiteX31" fmla="*/ 5165282 w 12191999"/>
              <a:gd name="connsiteY31" fmla="*/ 3427656 h 6857998"/>
              <a:gd name="connsiteX32" fmla="*/ 5165282 w 12191999"/>
              <a:gd name="connsiteY32" fmla="*/ 2148160 h 6857998"/>
              <a:gd name="connsiteX33" fmla="*/ 4793264 w 12191999"/>
              <a:gd name="connsiteY33" fmla="*/ 1934686 h 6857998"/>
              <a:gd name="connsiteX34" fmla="*/ 4793264 w 12191999"/>
              <a:gd name="connsiteY34" fmla="*/ 1502369 h 6857998"/>
              <a:gd name="connsiteX35" fmla="*/ 4431989 w 12191999"/>
              <a:gd name="connsiteY35" fmla="*/ 1292924 h 6857998"/>
              <a:gd name="connsiteX36" fmla="*/ 4431989 w 12191999"/>
              <a:gd name="connsiteY36" fmla="*/ 857921 h 6857998"/>
              <a:gd name="connsiteX37" fmla="*/ 0 w 12191999"/>
              <a:gd name="connsiteY37" fmla="*/ 0 h 6857998"/>
              <a:gd name="connsiteX38" fmla="*/ 735979 w 12191999"/>
              <a:gd name="connsiteY38" fmla="*/ 0 h 6857998"/>
              <a:gd name="connsiteX39" fmla="*/ 738666 w 12191999"/>
              <a:gd name="connsiteY39" fmla="*/ 0 h 6857998"/>
              <a:gd name="connsiteX40" fmla="*/ 738666 w 12191999"/>
              <a:gd name="connsiteY40" fmla="*/ 1287553 h 6857998"/>
              <a:gd name="connsiteX41" fmla="*/ 367990 w 12191999"/>
              <a:gd name="connsiteY41" fmla="*/ 1499684 h 6857998"/>
              <a:gd name="connsiteX42" fmla="*/ 367990 w 12191999"/>
              <a:gd name="connsiteY42" fmla="*/ 1927973 h 6857998"/>
              <a:gd name="connsiteX43" fmla="*/ 735979 w 12191999"/>
              <a:gd name="connsiteY43" fmla="*/ 2141447 h 6857998"/>
              <a:gd name="connsiteX44" fmla="*/ 735979 w 12191999"/>
              <a:gd name="connsiteY44" fmla="*/ 2573764 h 6857998"/>
              <a:gd name="connsiteX45" fmla="*/ 1107998 w 12191999"/>
              <a:gd name="connsiteY45" fmla="*/ 2789922 h 6857998"/>
              <a:gd name="connsiteX46" fmla="*/ 1107998 w 12191999"/>
              <a:gd name="connsiteY46" fmla="*/ 5783919 h 6857998"/>
              <a:gd name="connsiteX47" fmla="*/ 367990 w 12191999"/>
              <a:gd name="connsiteY47" fmla="*/ 6216236 h 6857998"/>
              <a:gd name="connsiteX48" fmla="*/ 367990 w 12191999"/>
              <a:gd name="connsiteY48" fmla="*/ 6641840 h 6857998"/>
              <a:gd name="connsiteX49" fmla="*/ 738666 w 12191999"/>
              <a:gd name="connsiteY49" fmla="*/ 6425681 h 6857998"/>
              <a:gd name="connsiteX50" fmla="*/ 738666 w 12191999"/>
              <a:gd name="connsiteY50" fmla="*/ 6857998 h 6857998"/>
              <a:gd name="connsiteX51" fmla="*/ 0 w 12191999"/>
              <a:gd name="connsiteY51" fmla="*/ 6857998 h 6857998"/>
              <a:gd name="connsiteX52" fmla="*/ 0 w 12191999"/>
              <a:gd name="connsiteY52" fmla="*/ 4717894 h 6857998"/>
              <a:gd name="connsiteX53" fmla="*/ 365304 w 12191999"/>
              <a:gd name="connsiteY53" fmla="*/ 4504421 h 6857998"/>
              <a:gd name="connsiteX54" fmla="*/ 0 w 12191999"/>
              <a:gd name="connsiteY54" fmla="*/ 4292290 h 6857998"/>
              <a:gd name="connsiteX55" fmla="*/ 0 w 12191999"/>
              <a:gd name="connsiteY55" fmla="*/ 4285577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91999" h="6857998">
                <a:moveTo>
                  <a:pt x="4431989" y="5571788"/>
                </a:moveTo>
                <a:lnTo>
                  <a:pt x="4431989" y="5997393"/>
                </a:lnTo>
                <a:lnTo>
                  <a:pt x="4797291" y="5783919"/>
                </a:lnTo>
                <a:close/>
                <a:moveTo>
                  <a:pt x="370675" y="4927340"/>
                </a:moveTo>
                <a:lnTo>
                  <a:pt x="2686" y="5139471"/>
                </a:lnTo>
                <a:lnTo>
                  <a:pt x="370675" y="5352945"/>
                </a:lnTo>
                <a:close/>
                <a:moveTo>
                  <a:pt x="6275965" y="3218211"/>
                </a:moveTo>
                <a:lnTo>
                  <a:pt x="5912005" y="3430342"/>
                </a:lnTo>
                <a:lnTo>
                  <a:pt x="6275965" y="3643816"/>
                </a:lnTo>
                <a:close/>
                <a:moveTo>
                  <a:pt x="370675" y="3218211"/>
                </a:moveTo>
                <a:lnTo>
                  <a:pt x="370675" y="4076133"/>
                </a:lnTo>
                <a:lnTo>
                  <a:pt x="735978" y="4285578"/>
                </a:lnTo>
                <a:lnTo>
                  <a:pt x="735978" y="3430342"/>
                </a:lnTo>
                <a:close/>
                <a:moveTo>
                  <a:pt x="5171997" y="1290239"/>
                </a:moveTo>
                <a:lnTo>
                  <a:pt x="5171997" y="1715843"/>
                </a:lnTo>
                <a:lnTo>
                  <a:pt x="5537299" y="1502370"/>
                </a:lnTo>
                <a:close/>
                <a:moveTo>
                  <a:pt x="370675" y="645791"/>
                </a:moveTo>
                <a:lnTo>
                  <a:pt x="370675" y="1071396"/>
                </a:lnTo>
                <a:lnTo>
                  <a:pt x="735978" y="857922"/>
                </a:lnTo>
                <a:close/>
                <a:moveTo>
                  <a:pt x="2958689" y="0"/>
                </a:moveTo>
                <a:lnTo>
                  <a:pt x="12191999" y="0"/>
                </a:lnTo>
                <a:lnTo>
                  <a:pt x="12191999" y="6857998"/>
                </a:lnTo>
                <a:lnTo>
                  <a:pt x="4431991" y="6857998"/>
                </a:lnTo>
                <a:lnTo>
                  <a:pt x="4797291" y="6641840"/>
                </a:lnTo>
                <a:lnTo>
                  <a:pt x="4431989" y="6429709"/>
                </a:lnTo>
                <a:lnTo>
                  <a:pt x="4431989" y="6857998"/>
                </a:lnTo>
                <a:lnTo>
                  <a:pt x="3691983" y="6857998"/>
                </a:lnTo>
                <a:lnTo>
                  <a:pt x="3691983" y="6848600"/>
                </a:lnTo>
                <a:lnTo>
                  <a:pt x="3691983" y="6000077"/>
                </a:lnTo>
                <a:lnTo>
                  <a:pt x="5537300" y="4927340"/>
                </a:lnTo>
                <a:lnTo>
                  <a:pt x="5537300" y="3641129"/>
                </a:lnTo>
                <a:lnTo>
                  <a:pt x="5165282" y="3427656"/>
                </a:lnTo>
                <a:lnTo>
                  <a:pt x="5165282" y="2148160"/>
                </a:lnTo>
                <a:lnTo>
                  <a:pt x="4793264" y="1934686"/>
                </a:lnTo>
                <a:lnTo>
                  <a:pt x="4793264" y="1502369"/>
                </a:lnTo>
                <a:lnTo>
                  <a:pt x="4431989" y="1292924"/>
                </a:lnTo>
                <a:lnTo>
                  <a:pt x="4431989" y="857921"/>
                </a:lnTo>
                <a:close/>
                <a:moveTo>
                  <a:pt x="0" y="0"/>
                </a:moveTo>
                <a:lnTo>
                  <a:pt x="735979" y="0"/>
                </a:lnTo>
                <a:lnTo>
                  <a:pt x="738666" y="0"/>
                </a:lnTo>
                <a:lnTo>
                  <a:pt x="738666" y="1287553"/>
                </a:lnTo>
                <a:lnTo>
                  <a:pt x="367990" y="1499684"/>
                </a:lnTo>
                <a:lnTo>
                  <a:pt x="367990" y="1927973"/>
                </a:lnTo>
                <a:lnTo>
                  <a:pt x="735979" y="2141447"/>
                </a:lnTo>
                <a:lnTo>
                  <a:pt x="735979" y="2573764"/>
                </a:lnTo>
                <a:lnTo>
                  <a:pt x="1107998" y="2789922"/>
                </a:lnTo>
                <a:lnTo>
                  <a:pt x="1107998" y="5783919"/>
                </a:lnTo>
                <a:lnTo>
                  <a:pt x="367990" y="6216236"/>
                </a:lnTo>
                <a:lnTo>
                  <a:pt x="367990" y="6641840"/>
                </a:lnTo>
                <a:lnTo>
                  <a:pt x="738666" y="6425681"/>
                </a:lnTo>
                <a:lnTo>
                  <a:pt x="738666" y="6857998"/>
                </a:lnTo>
                <a:lnTo>
                  <a:pt x="0" y="6857998"/>
                </a:lnTo>
                <a:lnTo>
                  <a:pt x="0" y="4717894"/>
                </a:lnTo>
                <a:lnTo>
                  <a:pt x="365304" y="4504421"/>
                </a:lnTo>
                <a:lnTo>
                  <a:pt x="0" y="4292290"/>
                </a:lnTo>
                <a:lnTo>
                  <a:pt x="0" y="4285577"/>
                </a:ln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pPr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3" name="Freeform 7"/>
          <p:cNvSpPr>
            <a:spLocks/>
          </p:cNvSpPr>
          <p:nvPr userDrawn="1"/>
        </p:nvSpPr>
        <p:spPr bwMode="auto">
          <a:xfrm>
            <a:off x="6275966" y="3643816"/>
            <a:ext cx="365303" cy="428290"/>
          </a:xfrm>
          <a:custGeom>
            <a:avLst/>
            <a:gdLst>
              <a:gd name="T0" fmla="*/ 0 w 272"/>
              <a:gd name="T1" fmla="*/ 319 h 319"/>
              <a:gd name="T2" fmla="*/ 0 w 272"/>
              <a:gd name="T3" fmla="*/ 0 h 319"/>
              <a:gd name="T4" fmla="*/ 272 w 272"/>
              <a:gd name="T5" fmla="*/ 161 h 319"/>
              <a:gd name="T6" fmla="*/ 0 w 272"/>
              <a:gd name="T7" fmla="*/ 319 h 319"/>
            </a:gdLst>
            <a:ahLst/>
            <a:cxnLst>
              <a:cxn ang="0">
                <a:pos x="T0" y="T1"/>
              </a:cxn>
              <a:cxn ang="0">
                <a:pos x="T2" y="T3"/>
              </a:cxn>
              <a:cxn ang="0">
                <a:pos x="T4" y="T5"/>
              </a:cxn>
              <a:cxn ang="0">
                <a:pos x="T6" y="T7"/>
              </a:cxn>
            </a:cxnLst>
            <a:rect l="0" t="0" r="r" b="b"/>
            <a:pathLst>
              <a:path w="272" h="319">
                <a:moveTo>
                  <a:pt x="0" y="319"/>
                </a:moveTo>
                <a:lnTo>
                  <a:pt x="0" y="0"/>
                </a:lnTo>
                <a:lnTo>
                  <a:pt x="272" y="161"/>
                </a:lnTo>
                <a:lnTo>
                  <a:pt x="0" y="319"/>
                </a:lnTo>
                <a:close/>
              </a:path>
            </a:pathLst>
          </a:custGeom>
          <a:gradFill>
            <a:gsLst>
              <a:gs pos="0">
                <a:srgbClr val="EB6139"/>
              </a:gs>
              <a:gs pos="100000">
                <a:srgbClr val="D95D3E"/>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4" name="Freeform 8"/>
          <p:cNvSpPr>
            <a:spLocks/>
          </p:cNvSpPr>
          <p:nvPr userDrawn="1"/>
        </p:nvSpPr>
        <p:spPr bwMode="auto">
          <a:xfrm>
            <a:off x="5542673" y="2789922"/>
            <a:ext cx="365303" cy="425605"/>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F7437"/>
              </a:gs>
              <a:gs pos="100000">
                <a:srgbClr val="FF6C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5" name="Freeform 9"/>
          <p:cNvSpPr>
            <a:spLocks/>
          </p:cNvSpPr>
          <p:nvPr userDrawn="1"/>
        </p:nvSpPr>
        <p:spPr bwMode="auto">
          <a:xfrm>
            <a:off x="5539987" y="5783919"/>
            <a:ext cx="365303" cy="425605"/>
          </a:xfrm>
          <a:custGeom>
            <a:avLst/>
            <a:gdLst>
              <a:gd name="T0" fmla="*/ 0 w 272"/>
              <a:gd name="T1" fmla="*/ 317 h 317"/>
              <a:gd name="T2" fmla="*/ 0 w 272"/>
              <a:gd name="T3" fmla="*/ 0 h 317"/>
              <a:gd name="T4" fmla="*/ 272 w 272"/>
              <a:gd name="T5" fmla="*/ 159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9"/>
                </a:lnTo>
                <a:lnTo>
                  <a:pt x="0" y="317"/>
                </a:lnTo>
                <a:close/>
              </a:path>
            </a:pathLst>
          </a:custGeom>
          <a:gradFill>
            <a:gsLst>
              <a:gs pos="0">
                <a:srgbClr val="66425F"/>
              </a:gs>
              <a:gs pos="100000">
                <a:srgbClr val="513E64"/>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6" name="Freeform 12"/>
          <p:cNvSpPr>
            <a:spLocks/>
          </p:cNvSpPr>
          <p:nvPr userDrawn="1"/>
        </p:nvSpPr>
        <p:spPr bwMode="auto">
          <a:xfrm>
            <a:off x="367989" y="2369689"/>
            <a:ext cx="367989" cy="848523"/>
          </a:xfrm>
          <a:custGeom>
            <a:avLst/>
            <a:gdLst>
              <a:gd name="T0" fmla="*/ 2 w 274"/>
              <a:gd name="T1" fmla="*/ 0 h 632"/>
              <a:gd name="T2" fmla="*/ 0 w 274"/>
              <a:gd name="T3" fmla="*/ 317 h 632"/>
              <a:gd name="T4" fmla="*/ 0 w 274"/>
              <a:gd name="T5" fmla="*/ 632 h 632"/>
              <a:gd name="T6" fmla="*/ 274 w 274"/>
              <a:gd name="T7" fmla="*/ 471 h 632"/>
              <a:gd name="T8" fmla="*/ 274 w 274"/>
              <a:gd name="T9" fmla="*/ 156 h 632"/>
              <a:gd name="T10" fmla="*/ 2 w 274"/>
              <a:gd name="T11" fmla="*/ 0 h 632"/>
            </a:gdLst>
            <a:ahLst/>
            <a:cxnLst>
              <a:cxn ang="0">
                <a:pos x="T0" y="T1"/>
              </a:cxn>
              <a:cxn ang="0">
                <a:pos x="T2" y="T3"/>
              </a:cxn>
              <a:cxn ang="0">
                <a:pos x="T4" y="T5"/>
              </a:cxn>
              <a:cxn ang="0">
                <a:pos x="T6" y="T7"/>
              </a:cxn>
              <a:cxn ang="0">
                <a:pos x="T8" y="T9"/>
              </a:cxn>
              <a:cxn ang="0">
                <a:pos x="T10" y="T11"/>
              </a:cxn>
            </a:cxnLst>
            <a:rect l="0" t="0" r="r" b="b"/>
            <a:pathLst>
              <a:path w="274" h="632">
                <a:moveTo>
                  <a:pt x="2" y="0"/>
                </a:moveTo>
                <a:lnTo>
                  <a:pt x="0" y="317"/>
                </a:lnTo>
                <a:lnTo>
                  <a:pt x="0" y="632"/>
                </a:lnTo>
                <a:lnTo>
                  <a:pt x="274" y="471"/>
                </a:lnTo>
                <a:lnTo>
                  <a:pt x="274" y="156"/>
                </a:lnTo>
                <a:lnTo>
                  <a:pt x="2" y="0"/>
                </a:lnTo>
                <a:close/>
              </a:path>
            </a:pathLst>
          </a:custGeom>
          <a:gradFill>
            <a:gsLst>
              <a:gs pos="0">
                <a:srgbClr val="FE7D37"/>
              </a:gs>
              <a:gs pos="100000">
                <a:srgbClr val="FF6D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7" name="Freeform 13"/>
          <p:cNvSpPr>
            <a:spLocks/>
          </p:cNvSpPr>
          <p:nvPr userDrawn="1"/>
        </p:nvSpPr>
        <p:spPr bwMode="auto">
          <a:xfrm>
            <a:off x="367989" y="4927341"/>
            <a:ext cx="367989" cy="847181"/>
          </a:xfrm>
          <a:custGeom>
            <a:avLst/>
            <a:gdLst>
              <a:gd name="T0" fmla="*/ 2 w 274"/>
              <a:gd name="T1" fmla="*/ 0 h 631"/>
              <a:gd name="T2" fmla="*/ 0 w 274"/>
              <a:gd name="T3" fmla="*/ 314 h 631"/>
              <a:gd name="T4" fmla="*/ 0 w 274"/>
              <a:gd name="T5" fmla="*/ 631 h 631"/>
              <a:gd name="T6" fmla="*/ 274 w 274"/>
              <a:gd name="T7" fmla="*/ 471 h 631"/>
              <a:gd name="T8" fmla="*/ 274 w 274"/>
              <a:gd name="T9" fmla="*/ 156 h 631"/>
              <a:gd name="T10" fmla="*/ 2 w 274"/>
              <a:gd name="T11" fmla="*/ 0 h 631"/>
            </a:gdLst>
            <a:ahLst/>
            <a:cxnLst>
              <a:cxn ang="0">
                <a:pos x="T0" y="T1"/>
              </a:cxn>
              <a:cxn ang="0">
                <a:pos x="T2" y="T3"/>
              </a:cxn>
              <a:cxn ang="0">
                <a:pos x="T4" y="T5"/>
              </a:cxn>
              <a:cxn ang="0">
                <a:pos x="T6" y="T7"/>
              </a:cxn>
              <a:cxn ang="0">
                <a:pos x="T8" y="T9"/>
              </a:cxn>
              <a:cxn ang="0">
                <a:pos x="T10" y="T11"/>
              </a:cxn>
            </a:cxnLst>
            <a:rect l="0" t="0" r="r" b="b"/>
            <a:pathLst>
              <a:path w="274" h="631">
                <a:moveTo>
                  <a:pt x="2" y="0"/>
                </a:moveTo>
                <a:lnTo>
                  <a:pt x="0" y="314"/>
                </a:lnTo>
                <a:lnTo>
                  <a:pt x="0" y="631"/>
                </a:lnTo>
                <a:lnTo>
                  <a:pt x="274" y="471"/>
                </a:lnTo>
                <a:lnTo>
                  <a:pt x="274" y="156"/>
                </a:lnTo>
                <a:lnTo>
                  <a:pt x="2" y="0"/>
                </a:lnTo>
                <a:close/>
              </a:path>
            </a:pathLst>
          </a:custGeom>
          <a:gradFill>
            <a:gsLst>
              <a:gs pos="0">
                <a:srgbClr val="994E50"/>
              </a:gs>
              <a:gs pos="100000">
                <a:srgbClr val="7D5B71"/>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8" name="Freeform 14"/>
          <p:cNvSpPr>
            <a:spLocks/>
          </p:cNvSpPr>
          <p:nvPr userDrawn="1"/>
        </p:nvSpPr>
        <p:spPr bwMode="auto">
          <a:xfrm>
            <a:off x="5546702" y="3859974"/>
            <a:ext cx="729264" cy="1286210"/>
          </a:xfrm>
          <a:custGeom>
            <a:avLst/>
            <a:gdLst>
              <a:gd name="T0" fmla="*/ 543 w 543"/>
              <a:gd name="T1" fmla="*/ 799 h 958"/>
              <a:gd name="T2" fmla="*/ 543 w 543"/>
              <a:gd name="T3" fmla="*/ 158 h 958"/>
              <a:gd name="T4" fmla="*/ 272 w 543"/>
              <a:gd name="T5" fmla="*/ 0 h 958"/>
              <a:gd name="T6" fmla="*/ 272 w 543"/>
              <a:gd name="T7" fmla="*/ 641 h 958"/>
              <a:gd name="T8" fmla="*/ 0 w 543"/>
              <a:gd name="T9" fmla="*/ 799 h 958"/>
              <a:gd name="T10" fmla="*/ 272 w 543"/>
              <a:gd name="T11" fmla="*/ 958 h 958"/>
              <a:gd name="T12" fmla="*/ 543 w 543"/>
              <a:gd name="T13" fmla="*/ 799 h 958"/>
            </a:gdLst>
            <a:ahLst/>
            <a:cxnLst>
              <a:cxn ang="0">
                <a:pos x="T0" y="T1"/>
              </a:cxn>
              <a:cxn ang="0">
                <a:pos x="T2" y="T3"/>
              </a:cxn>
              <a:cxn ang="0">
                <a:pos x="T4" y="T5"/>
              </a:cxn>
              <a:cxn ang="0">
                <a:pos x="T6" y="T7"/>
              </a:cxn>
              <a:cxn ang="0">
                <a:pos x="T8" y="T9"/>
              </a:cxn>
              <a:cxn ang="0">
                <a:pos x="T10" y="T11"/>
              </a:cxn>
              <a:cxn ang="0">
                <a:pos x="T12" y="T13"/>
              </a:cxn>
            </a:cxnLst>
            <a:rect l="0" t="0" r="r" b="b"/>
            <a:pathLst>
              <a:path w="543" h="958">
                <a:moveTo>
                  <a:pt x="543" y="799"/>
                </a:moveTo>
                <a:lnTo>
                  <a:pt x="543" y="158"/>
                </a:lnTo>
                <a:lnTo>
                  <a:pt x="272" y="0"/>
                </a:lnTo>
                <a:lnTo>
                  <a:pt x="272" y="641"/>
                </a:lnTo>
                <a:lnTo>
                  <a:pt x="0" y="799"/>
                </a:lnTo>
                <a:lnTo>
                  <a:pt x="272" y="958"/>
                </a:lnTo>
                <a:lnTo>
                  <a:pt x="543" y="799"/>
                </a:lnTo>
                <a:close/>
              </a:path>
            </a:pathLst>
          </a:custGeom>
          <a:gradFill>
            <a:gsLst>
              <a:gs pos="0">
                <a:srgbClr val="DC5E3D"/>
              </a:gs>
              <a:gs pos="100000">
                <a:srgbClr val="964E51"/>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9" name="Freeform 15"/>
          <p:cNvSpPr>
            <a:spLocks/>
          </p:cNvSpPr>
          <p:nvPr userDrawn="1"/>
        </p:nvSpPr>
        <p:spPr bwMode="auto">
          <a:xfrm>
            <a:off x="5546702" y="1715842"/>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FE8F3D"/>
              </a:gs>
              <a:gs pos="100000">
                <a:srgbClr val="FE883D"/>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0" name="Freeform 16"/>
          <p:cNvSpPr>
            <a:spLocks/>
          </p:cNvSpPr>
          <p:nvPr userDrawn="1"/>
        </p:nvSpPr>
        <p:spPr bwMode="auto">
          <a:xfrm>
            <a:off x="742694" y="1502369"/>
            <a:ext cx="365303" cy="429632"/>
          </a:xfrm>
          <a:custGeom>
            <a:avLst/>
            <a:gdLst>
              <a:gd name="T0" fmla="*/ 272 w 272"/>
              <a:gd name="T1" fmla="*/ 320 h 320"/>
              <a:gd name="T2" fmla="*/ 0 w 272"/>
              <a:gd name="T3" fmla="*/ 161 h 320"/>
              <a:gd name="T4" fmla="*/ 272 w 272"/>
              <a:gd name="T5" fmla="*/ 0 h 320"/>
              <a:gd name="T6" fmla="*/ 272 w 272"/>
              <a:gd name="T7" fmla="*/ 320 h 320"/>
            </a:gdLst>
            <a:ahLst/>
            <a:cxnLst>
              <a:cxn ang="0">
                <a:pos x="T0" y="T1"/>
              </a:cxn>
              <a:cxn ang="0">
                <a:pos x="T2" y="T3"/>
              </a:cxn>
              <a:cxn ang="0">
                <a:pos x="T4" y="T5"/>
              </a:cxn>
              <a:cxn ang="0">
                <a:pos x="T6" y="T7"/>
              </a:cxn>
            </a:cxnLst>
            <a:rect l="0" t="0" r="r" b="b"/>
            <a:pathLst>
              <a:path w="272" h="320">
                <a:moveTo>
                  <a:pt x="272" y="320"/>
                </a:moveTo>
                <a:lnTo>
                  <a:pt x="0" y="161"/>
                </a:lnTo>
                <a:lnTo>
                  <a:pt x="272" y="0"/>
                </a:lnTo>
                <a:lnTo>
                  <a:pt x="272" y="320"/>
                </a:lnTo>
                <a:close/>
              </a:path>
            </a:pathLst>
          </a:custGeom>
          <a:gradFill>
            <a:gsLst>
              <a:gs pos="0">
                <a:srgbClr val="FE9541"/>
              </a:gs>
              <a:gs pos="100000">
                <a:srgbClr val="FE8E3F"/>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1" name="Freeform 17"/>
          <p:cNvSpPr>
            <a:spLocks/>
          </p:cNvSpPr>
          <p:nvPr userDrawn="1"/>
        </p:nvSpPr>
        <p:spPr bwMode="auto">
          <a:xfrm>
            <a:off x="1475987" y="2573764"/>
            <a:ext cx="365303" cy="425605"/>
          </a:xfrm>
          <a:custGeom>
            <a:avLst/>
            <a:gdLst>
              <a:gd name="T0" fmla="*/ 0 w 272"/>
              <a:gd name="T1" fmla="*/ 317 h 317"/>
              <a:gd name="T2" fmla="*/ 272 w 272"/>
              <a:gd name="T3" fmla="*/ 158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8"/>
                </a:lnTo>
                <a:lnTo>
                  <a:pt x="0" y="0"/>
                </a:lnTo>
                <a:lnTo>
                  <a:pt x="0" y="317"/>
                </a:lnTo>
                <a:close/>
              </a:path>
            </a:pathLst>
          </a:custGeom>
          <a:gradFill>
            <a:gsLst>
              <a:gs pos="0">
                <a:srgbClr val="FF7B3A"/>
              </a:gs>
              <a:gs pos="100000">
                <a:srgbClr val="FF763A"/>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2" name="Freeform 18"/>
          <p:cNvSpPr>
            <a:spLocks/>
          </p:cNvSpPr>
          <p:nvPr userDrawn="1"/>
        </p:nvSpPr>
        <p:spPr bwMode="auto">
          <a:xfrm>
            <a:off x="4806694" y="4072105"/>
            <a:ext cx="365303" cy="425605"/>
          </a:xfrm>
          <a:custGeom>
            <a:avLst/>
            <a:gdLst>
              <a:gd name="T0" fmla="*/ 0 w 272"/>
              <a:gd name="T1" fmla="*/ 317 h 317"/>
              <a:gd name="T2" fmla="*/ 272 w 272"/>
              <a:gd name="T3" fmla="*/ 159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9"/>
                </a:lnTo>
                <a:lnTo>
                  <a:pt x="0" y="0"/>
                </a:lnTo>
                <a:lnTo>
                  <a:pt x="0" y="317"/>
                </a:lnTo>
                <a:close/>
              </a:path>
            </a:pathLst>
          </a:custGeom>
          <a:gradFill>
            <a:gsLst>
              <a:gs pos="0">
                <a:srgbClr val="D05B40"/>
              </a:gs>
              <a:gs pos="100000">
                <a:srgbClr val="BE5F4F"/>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3" name="Freeform 19"/>
          <p:cNvSpPr>
            <a:spLocks/>
          </p:cNvSpPr>
          <p:nvPr userDrawn="1"/>
        </p:nvSpPr>
        <p:spPr bwMode="auto">
          <a:xfrm>
            <a:off x="4429303" y="4717895"/>
            <a:ext cx="363961" cy="425605"/>
          </a:xfrm>
          <a:custGeom>
            <a:avLst/>
            <a:gdLst>
              <a:gd name="T0" fmla="*/ 0 w 271"/>
              <a:gd name="T1" fmla="*/ 317 h 317"/>
              <a:gd name="T2" fmla="*/ 271 w 271"/>
              <a:gd name="T3" fmla="*/ 158 h 317"/>
              <a:gd name="T4" fmla="*/ 0 w 271"/>
              <a:gd name="T5" fmla="*/ 0 h 317"/>
              <a:gd name="T6" fmla="*/ 0 w 271"/>
              <a:gd name="T7" fmla="*/ 317 h 317"/>
            </a:gdLst>
            <a:ahLst/>
            <a:cxnLst>
              <a:cxn ang="0">
                <a:pos x="T0" y="T1"/>
              </a:cxn>
              <a:cxn ang="0">
                <a:pos x="T2" y="T3"/>
              </a:cxn>
              <a:cxn ang="0">
                <a:pos x="T4" y="T5"/>
              </a:cxn>
              <a:cxn ang="0">
                <a:pos x="T6" y="T7"/>
              </a:cxn>
            </a:cxnLst>
            <a:rect l="0" t="0" r="r" b="b"/>
            <a:pathLst>
              <a:path w="271" h="317">
                <a:moveTo>
                  <a:pt x="0" y="317"/>
                </a:moveTo>
                <a:lnTo>
                  <a:pt x="271" y="158"/>
                </a:lnTo>
                <a:lnTo>
                  <a:pt x="0" y="0"/>
                </a:lnTo>
                <a:lnTo>
                  <a:pt x="0" y="317"/>
                </a:lnTo>
                <a:close/>
              </a:path>
            </a:pathLst>
          </a:custGeom>
          <a:gradFill>
            <a:gsLst>
              <a:gs pos="0">
                <a:srgbClr val="A8524C"/>
              </a:gs>
              <a:gs pos="100000">
                <a:srgbClr val="985154"/>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4" name="Freeform 20"/>
          <p:cNvSpPr>
            <a:spLocks/>
          </p:cNvSpPr>
          <p:nvPr userDrawn="1"/>
        </p:nvSpPr>
        <p:spPr bwMode="auto">
          <a:xfrm>
            <a:off x="1117398" y="648476"/>
            <a:ext cx="365303" cy="425605"/>
          </a:xfrm>
          <a:custGeom>
            <a:avLst/>
            <a:gdLst>
              <a:gd name="T0" fmla="*/ 0 w 272"/>
              <a:gd name="T1" fmla="*/ 317 h 317"/>
              <a:gd name="T2" fmla="*/ 272 w 272"/>
              <a:gd name="T3" fmla="*/ 159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9"/>
                </a:lnTo>
                <a:lnTo>
                  <a:pt x="0" y="0"/>
                </a:lnTo>
                <a:lnTo>
                  <a:pt x="0" y="317"/>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5" name="Freeform 21"/>
          <p:cNvSpPr>
            <a:spLocks/>
          </p:cNvSpPr>
          <p:nvPr userDrawn="1"/>
        </p:nvSpPr>
        <p:spPr bwMode="auto">
          <a:xfrm>
            <a:off x="3701382" y="1074080"/>
            <a:ext cx="730607" cy="425605"/>
          </a:xfrm>
          <a:custGeom>
            <a:avLst/>
            <a:gdLst>
              <a:gd name="T0" fmla="*/ 272 w 544"/>
              <a:gd name="T1" fmla="*/ 0 h 317"/>
              <a:gd name="T2" fmla="*/ 0 w 544"/>
              <a:gd name="T3" fmla="*/ 159 h 317"/>
              <a:gd name="T4" fmla="*/ 272 w 544"/>
              <a:gd name="T5" fmla="*/ 317 h 317"/>
              <a:gd name="T6" fmla="*/ 544 w 544"/>
              <a:gd name="T7" fmla="*/ 159 h 317"/>
              <a:gd name="T8" fmla="*/ 272 w 544"/>
              <a:gd name="T9" fmla="*/ 0 h 317"/>
            </a:gdLst>
            <a:ahLst/>
            <a:cxnLst>
              <a:cxn ang="0">
                <a:pos x="T0" y="T1"/>
              </a:cxn>
              <a:cxn ang="0">
                <a:pos x="T2" y="T3"/>
              </a:cxn>
              <a:cxn ang="0">
                <a:pos x="T4" y="T5"/>
              </a:cxn>
              <a:cxn ang="0">
                <a:pos x="T6" y="T7"/>
              </a:cxn>
              <a:cxn ang="0">
                <a:pos x="T8" y="T9"/>
              </a:cxn>
            </a:cxnLst>
            <a:rect l="0" t="0" r="r" b="b"/>
            <a:pathLst>
              <a:path w="544" h="317">
                <a:moveTo>
                  <a:pt x="272" y="0"/>
                </a:moveTo>
                <a:lnTo>
                  <a:pt x="0" y="159"/>
                </a:lnTo>
                <a:lnTo>
                  <a:pt x="272" y="317"/>
                </a:lnTo>
                <a:lnTo>
                  <a:pt x="544" y="159"/>
                </a:lnTo>
                <a:lnTo>
                  <a:pt x="272" y="0"/>
                </a:lnTo>
                <a:close/>
              </a:path>
            </a:pathLst>
          </a:custGeom>
          <a:gradFill>
            <a:gsLst>
              <a:gs pos="0">
                <a:srgbClr val="FEA044"/>
              </a:gs>
              <a:gs pos="100000">
                <a:srgbClr val="FE9842"/>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6" name="Freeform 22"/>
          <p:cNvSpPr>
            <a:spLocks/>
          </p:cNvSpPr>
          <p:nvPr userDrawn="1"/>
        </p:nvSpPr>
        <p:spPr bwMode="auto">
          <a:xfrm>
            <a:off x="735979" y="4285578"/>
            <a:ext cx="365303" cy="425605"/>
          </a:xfrm>
          <a:custGeom>
            <a:avLst/>
            <a:gdLst>
              <a:gd name="T0" fmla="*/ 0 w 272"/>
              <a:gd name="T1" fmla="*/ 317 h 317"/>
              <a:gd name="T2" fmla="*/ 272 w 272"/>
              <a:gd name="T3" fmla="*/ 158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8"/>
                </a:lnTo>
                <a:lnTo>
                  <a:pt x="0" y="0"/>
                </a:lnTo>
                <a:lnTo>
                  <a:pt x="0" y="317"/>
                </a:lnTo>
                <a:close/>
              </a:path>
            </a:pathLst>
          </a:custGeom>
          <a:gradFill>
            <a:gsLst>
              <a:gs pos="0">
                <a:srgbClr val="C45844"/>
              </a:gs>
              <a:gs pos="100000">
                <a:srgbClr val="B1544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7" name="Freeform 23"/>
          <p:cNvSpPr>
            <a:spLocks/>
          </p:cNvSpPr>
          <p:nvPr userDrawn="1"/>
        </p:nvSpPr>
        <p:spPr bwMode="auto">
          <a:xfrm>
            <a:off x="4806694" y="6004106"/>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523E64"/>
              </a:gs>
              <a:gs pos="100000">
                <a:srgbClr val="413A6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8" name="Freeform 24"/>
          <p:cNvSpPr>
            <a:spLocks/>
          </p:cNvSpPr>
          <p:nvPr userDrawn="1"/>
        </p:nvSpPr>
        <p:spPr bwMode="auto">
          <a:xfrm>
            <a:off x="1107998" y="5997393"/>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523E64"/>
              </a:gs>
              <a:gs pos="100000">
                <a:srgbClr val="413A69"/>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9" name="Freeform 25"/>
          <p:cNvSpPr>
            <a:spLocks/>
          </p:cNvSpPr>
          <p:nvPr userDrawn="1"/>
        </p:nvSpPr>
        <p:spPr bwMode="auto">
          <a:xfrm>
            <a:off x="4431989" y="0"/>
            <a:ext cx="365303" cy="639077"/>
          </a:xfrm>
          <a:custGeom>
            <a:avLst/>
            <a:gdLst>
              <a:gd name="T0" fmla="*/ 272 w 272"/>
              <a:gd name="T1" fmla="*/ 476 h 476"/>
              <a:gd name="T2" fmla="*/ 0 w 272"/>
              <a:gd name="T3" fmla="*/ 322 h 476"/>
              <a:gd name="T4" fmla="*/ 0 w 272"/>
              <a:gd name="T5" fmla="*/ 0 h 476"/>
              <a:gd name="T6" fmla="*/ 272 w 272"/>
              <a:gd name="T7" fmla="*/ 159 h 476"/>
              <a:gd name="T8" fmla="*/ 272 w 272"/>
              <a:gd name="T9" fmla="*/ 476 h 476"/>
            </a:gdLst>
            <a:ahLst/>
            <a:cxnLst>
              <a:cxn ang="0">
                <a:pos x="T0" y="T1"/>
              </a:cxn>
              <a:cxn ang="0">
                <a:pos x="T2" y="T3"/>
              </a:cxn>
              <a:cxn ang="0">
                <a:pos x="T4" y="T5"/>
              </a:cxn>
              <a:cxn ang="0">
                <a:pos x="T6" y="T7"/>
              </a:cxn>
              <a:cxn ang="0">
                <a:pos x="T8" y="T9"/>
              </a:cxn>
            </a:cxnLst>
            <a:rect l="0" t="0" r="r" b="b"/>
            <a:pathLst>
              <a:path w="272" h="476">
                <a:moveTo>
                  <a:pt x="272" y="476"/>
                </a:moveTo>
                <a:lnTo>
                  <a:pt x="0" y="322"/>
                </a:lnTo>
                <a:lnTo>
                  <a:pt x="0" y="0"/>
                </a:lnTo>
                <a:lnTo>
                  <a:pt x="272" y="159"/>
                </a:lnTo>
                <a:lnTo>
                  <a:pt x="272" y="476"/>
                </a:lnTo>
                <a:close/>
              </a:path>
            </a:pathLst>
          </a:custGeom>
          <a:gradFill>
            <a:gsLst>
              <a:gs pos="0">
                <a:srgbClr val="FDBB4C"/>
              </a:gs>
              <a:gs pos="100000">
                <a:srgbClr val="FDAE49"/>
              </a:gs>
            </a:gsLst>
            <a:lin ang="5400000" scaled="1"/>
          </a:gradFill>
          <a:ln>
            <a:noFill/>
          </a:ln>
        </p:spPr>
        <p:txBody>
          <a:bodyPr vert="horz" wrap="square" lIns="91440" tIns="45720" rIns="91440" bIns="45720" numCol="1" anchor="t" anchorCtr="0" compatLnSpc="1">
            <a:prstTxWarp prst="textNoShape">
              <a:avLst/>
            </a:prstTxWarp>
          </a:bodyPr>
          <a:lstStyle/>
          <a:p>
            <a:pPr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30" name="Freeform 27"/>
          <p:cNvSpPr>
            <a:spLocks/>
          </p:cNvSpPr>
          <p:nvPr userDrawn="1"/>
        </p:nvSpPr>
        <p:spPr bwMode="auto">
          <a:xfrm>
            <a:off x="1482702" y="436345"/>
            <a:ext cx="365303" cy="635050"/>
          </a:xfrm>
          <a:custGeom>
            <a:avLst/>
            <a:gdLst>
              <a:gd name="T0" fmla="*/ 272 w 272"/>
              <a:gd name="T1" fmla="*/ 158 h 473"/>
              <a:gd name="T2" fmla="*/ 0 w 272"/>
              <a:gd name="T3" fmla="*/ 0 h 473"/>
              <a:gd name="T4" fmla="*/ 0 w 272"/>
              <a:gd name="T5" fmla="*/ 317 h 473"/>
              <a:gd name="T6" fmla="*/ 272 w 272"/>
              <a:gd name="T7" fmla="*/ 473 h 473"/>
              <a:gd name="T8" fmla="*/ 272 w 272"/>
              <a:gd name="T9" fmla="*/ 158 h 473"/>
            </a:gdLst>
            <a:ahLst/>
            <a:cxnLst>
              <a:cxn ang="0">
                <a:pos x="T0" y="T1"/>
              </a:cxn>
              <a:cxn ang="0">
                <a:pos x="T2" y="T3"/>
              </a:cxn>
              <a:cxn ang="0">
                <a:pos x="T4" y="T5"/>
              </a:cxn>
              <a:cxn ang="0">
                <a:pos x="T6" y="T7"/>
              </a:cxn>
              <a:cxn ang="0">
                <a:pos x="T8" y="T9"/>
              </a:cxn>
            </a:cxnLst>
            <a:rect l="0" t="0" r="r" b="b"/>
            <a:pathLst>
              <a:path w="272" h="473">
                <a:moveTo>
                  <a:pt x="272" y="158"/>
                </a:moveTo>
                <a:lnTo>
                  <a:pt x="0" y="0"/>
                </a:lnTo>
                <a:lnTo>
                  <a:pt x="0" y="317"/>
                </a:lnTo>
                <a:lnTo>
                  <a:pt x="272" y="473"/>
                </a:lnTo>
                <a:lnTo>
                  <a:pt x="272" y="158"/>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31" name="Freeform 28"/>
          <p:cNvSpPr>
            <a:spLocks/>
          </p:cNvSpPr>
          <p:nvPr userDrawn="1"/>
        </p:nvSpPr>
        <p:spPr bwMode="auto">
          <a:xfrm>
            <a:off x="5171997" y="648476"/>
            <a:ext cx="729264" cy="641763"/>
          </a:xfrm>
          <a:custGeom>
            <a:avLst/>
            <a:gdLst>
              <a:gd name="T0" fmla="*/ 272 w 543"/>
              <a:gd name="T1" fmla="*/ 0 h 478"/>
              <a:gd name="T2" fmla="*/ 0 w 543"/>
              <a:gd name="T3" fmla="*/ 159 h 478"/>
              <a:gd name="T4" fmla="*/ 0 w 543"/>
              <a:gd name="T5" fmla="*/ 478 h 478"/>
              <a:gd name="T6" fmla="*/ 272 w 543"/>
              <a:gd name="T7" fmla="*/ 319 h 478"/>
              <a:gd name="T8" fmla="*/ 543 w 543"/>
              <a:gd name="T9" fmla="*/ 159 h 478"/>
              <a:gd name="T10" fmla="*/ 272 w 543"/>
              <a:gd name="T11" fmla="*/ 0 h 478"/>
            </a:gdLst>
            <a:ahLst/>
            <a:cxnLst>
              <a:cxn ang="0">
                <a:pos x="T0" y="T1"/>
              </a:cxn>
              <a:cxn ang="0">
                <a:pos x="T2" y="T3"/>
              </a:cxn>
              <a:cxn ang="0">
                <a:pos x="T4" y="T5"/>
              </a:cxn>
              <a:cxn ang="0">
                <a:pos x="T6" y="T7"/>
              </a:cxn>
              <a:cxn ang="0">
                <a:pos x="T8" y="T9"/>
              </a:cxn>
              <a:cxn ang="0">
                <a:pos x="T10" y="T11"/>
              </a:cxn>
            </a:cxnLst>
            <a:rect l="0" t="0" r="r" b="b"/>
            <a:pathLst>
              <a:path w="543" h="478">
                <a:moveTo>
                  <a:pt x="272" y="0"/>
                </a:moveTo>
                <a:lnTo>
                  <a:pt x="0" y="159"/>
                </a:lnTo>
                <a:lnTo>
                  <a:pt x="0" y="478"/>
                </a:lnTo>
                <a:lnTo>
                  <a:pt x="272" y="319"/>
                </a:lnTo>
                <a:lnTo>
                  <a:pt x="543" y="159"/>
                </a:lnTo>
                <a:lnTo>
                  <a:pt x="272" y="0"/>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32" name="Freeform 29"/>
          <p:cNvSpPr>
            <a:spLocks/>
          </p:cNvSpPr>
          <p:nvPr userDrawn="1"/>
        </p:nvSpPr>
        <p:spPr bwMode="auto">
          <a:xfrm>
            <a:off x="4066686" y="2360290"/>
            <a:ext cx="730607" cy="641763"/>
          </a:xfrm>
          <a:custGeom>
            <a:avLst/>
            <a:gdLst>
              <a:gd name="T0" fmla="*/ 272 w 544"/>
              <a:gd name="T1" fmla="*/ 478 h 478"/>
              <a:gd name="T2" fmla="*/ 0 w 544"/>
              <a:gd name="T3" fmla="*/ 320 h 478"/>
              <a:gd name="T4" fmla="*/ 0 w 544"/>
              <a:gd name="T5" fmla="*/ 0 h 478"/>
              <a:gd name="T6" fmla="*/ 272 w 544"/>
              <a:gd name="T7" fmla="*/ 159 h 478"/>
              <a:gd name="T8" fmla="*/ 544 w 544"/>
              <a:gd name="T9" fmla="*/ 320 h 478"/>
              <a:gd name="T10" fmla="*/ 272 w 544"/>
              <a:gd name="T11" fmla="*/ 478 h 478"/>
            </a:gdLst>
            <a:ahLst/>
            <a:cxnLst>
              <a:cxn ang="0">
                <a:pos x="T0" y="T1"/>
              </a:cxn>
              <a:cxn ang="0">
                <a:pos x="T2" y="T3"/>
              </a:cxn>
              <a:cxn ang="0">
                <a:pos x="T4" y="T5"/>
              </a:cxn>
              <a:cxn ang="0">
                <a:pos x="T6" y="T7"/>
              </a:cxn>
              <a:cxn ang="0">
                <a:pos x="T8" y="T9"/>
              </a:cxn>
              <a:cxn ang="0">
                <a:pos x="T10" y="T11"/>
              </a:cxn>
            </a:cxnLst>
            <a:rect l="0" t="0" r="r" b="b"/>
            <a:pathLst>
              <a:path w="544" h="478">
                <a:moveTo>
                  <a:pt x="272" y="478"/>
                </a:moveTo>
                <a:lnTo>
                  <a:pt x="0" y="320"/>
                </a:lnTo>
                <a:lnTo>
                  <a:pt x="0" y="0"/>
                </a:lnTo>
                <a:lnTo>
                  <a:pt x="272" y="159"/>
                </a:lnTo>
                <a:lnTo>
                  <a:pt x="544" y="320"/>
                </a:lnTo>
                <a:lnTo>
                  <a:pt x="272" y="478"/>
                </a:lnTo>
                <a:close/>
              </a:path>
            </a:pathLst>
          </a:custGeom>
          <a:gradFill>
            <a:gsLst>
              <a:gs pos="0">
                <a:srgbClr val="FE7F3A"/>
              </a:gs>
              <a:gs pos="100000">
                <a:srgbClr val="FF6D35"/>
              </a:gs>
            </a:gsLst>
            <a:lin ang="5400000" scaled="1"/>
          </a:gradFill>
          <a:ln>
            <a:noFill/>
          </a:ln>
        </p:spPr>
        <p:txBody>
          <a:bodyPr vert="horz" wrap="square" lIns="91440" tIns="45720" rIns="91440" bIns="45720" numCol="1" anchor="t" anchorCtr="0" compatLnSpc="1">
            <a:prstTxWarp prst="textNoShape">
              <a:avLst/>
            </a:prstTxWarp>
          </a:bodyPr>
          <a:lstStyle/>
          <a:p>
            <a:pPr lvl="0" rt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33" name="Picture Placeholder 37">
            <a:extLst>
              <a:ext uri="{FF2B5EF4-FFF2-40B4-BE49-F238E27FC236}">
                <a16:creationId xmlns:a16="http://schemas.microsoft.com/office/drawing/2014/main" id="{B27FB25A-25C1-1145-91A1-08CB3FC40AE3}"/>
              </a:ext>
            </a:extLst>
          </p:cNvPr>
          <p:cNvSpPr>
            <a:spLocks noGrp="1"/>
          </p:cNvSpPr>
          <p:nvPr>
            <p:ph type="pic" sz="quarter" idx="10"/>
          </p:nvPr>
        </p:nvSpPr>
        <p:spPr>
          <a:xfrm>
            <a:off x="2" y="0"/>
            <a:ext cx="7121235" cy="6857999"/>
          </a:xfrm>
          <a:custGeom>
            <a:avLst/>
            <a:gdLst>
              <a:gd name="connsiteX0" fmla="*/ 1467955 w 7121235"/>
              <a:gd name="connsiteY0" fmla="*/ 6003620 h 6857999"/>
              <a:gd name="connsiteX1" fmla="*/ 1113343 w 7121235"/>
              <a:gd name="connsiteY1" fmla="*/ 6209544 h 6857999"/>
              <a:gd name="connsiteX2" fmla="*/ 1467955 w 7121235"/>
              <a:gd name="connsiteY2" fmla="*/ 6416770 h 6857999"/>
              <a:gd name="connsiteX3" fmla="*/ 4431990 w 7121235"/>
              <a:gd name="connsiteY3" fmla="*/ 5571788 h 6857999"/>
              <a:gd name="connsiteX4" fmla="*/ 4797292 w 7121235"/>
              <a:gd name="connsiteY4" fmla="*/ 5783919 h 6857999"/>
              <a:gd name="connsiteX5" fmla="*/ 4431990 w 7121235"/>
              <a:gd name="connsiteY5" fmla="*/ 5997393 h 6857999"/>
              <a:gd name="connsiteX6" fmla="*/ 370677 w 7121235"/>
              <a:gd name="connsiteY6" fmla="*/ 4927340 h 6857999"/>
              <a:gd name="connsiteX7" fmla="*/ 370677 w 7121235"/>
              <a:gd name="connsiteY7" fmla="*/ 5352945 h 6857999"/>
              <a:gd name="connsiteX8" fmla="*/ 2688 w 7121235"/>
              <a:gd name="connsiteY8" fmla="*/ 5139471 h 6857999"/>
              <a:gd name="connsiteX9" fmla="*/ 4434628 w 7121235"/>
              <a:gd name="connsiteY9" fmla="*/ 4724122 h 6857999"/>
              <a:gd name="connsiteX10" fmla="*/ 4434628 w 7121235"/>
              <a:gd name="connsiteY10" fmla="*/ 5137272 h 6857999"/>
              <a:gd name="connsiteX11" fmla="*/ 4787938 w 7121235"/>
              <a:gd name="connsiteY11" fmla="*/ 4930046 h 6857999"/>
              <a:gd name="connsiteX12" fmla="*/ 4812039 w 7121235"/>
              <a:gd name="connsiteY12" fmla="*/ 4078332 h 6857999"/>
              <a:gd name="connsiteX13" fmla="*/ 4812039 w 7121235"/>
              <a:gd name="connsiteY13" fmla="*/ 4491482 h 6857999"/>
              <a:gd name="connsiteX14" fmla="*/ 5166651 w 7121235"/>
              <a:gd name="connsiteY14" fmla="*/ 4285559 h 6857999"/>
              <a:gd name="connsiteX15" fmla="*/ 6275966 w 7121235"/>
              <a:gd name="connsiteY15" fmla="*/ 3218212 h 6857999"/>
              <a:gd name="connsiteX16" fmla="*/ 6275966 w 7121235"/>
              <a:gd name="connsiteY16" fmla="*/ 3643816 h 6857999"/>
              <a:gd name="connsiteX17" fmla="*/ 5912006 w 7121235"/>
              <a:gd name="connsiteY17" fmla="*/ 3430342 h 6857999"/>
              <a:gd name="connsiteX18" fmla="*/ 370677 w 7121235"/>
              <a:gd name="connsiteY18" fmla="*/ 3218212 h 6857999"/>
              <a:gd name="connsiteX19" fmla="*/ 735980 w 7121235"/>
              <a:gd name="connsiteY19" fmla="*/ 3430342 h 6857999"/>
              <a:gd name="connsiteX20" fmla="*/ 735980 w 7121235"/>
              <a:gd name="connsiteY20" fmla="*/ 4285578 h 6857999"/>
              <a:gd name="connsiteX21" fmla="*/ 370677 w 7121235"/>
              <a:gd name="connsiteY21" fmla="*/ 4076133 h 6857999"/>
              <a:gd name="connsiteX22" fmla="*/ 1481333 w 7121235"/>
              <a:gd name="connsiteY22" fmla="*/ 2579992 h 6857999"/>
              <a:gd name="connsiteX23" fmla="*/ 1481333 w 7121235"/>
              <a:gd name="connsiteY23" fmla="*/ 2993142 h 6857999"/>
              <a:gd name="connsiteX24" fmla="*/ 1835945 w 7121235"/>
              <a:gd name="connsiteY24" fmla="*/ 2785915 h 6857999"/>
              <a:gd name="connsiteX25" fmla="*/ 4077377 w 7121235"/>
              <a:gd name="connsiteY25" fmla="*/ 2369681 h 6857999"/>
              <a:gd name="connsiteX26" fmla="*/ 4077377 w 7121235"/>
              <a:gd name="connsiteY26" fmla="*/ 2786739 h 6857999"/>
              <a:gd name="connsiteX27" fmla="*/ 4431989 w 7121235"/>
              <a:gd name="connsiteY27" fmla="*/ 2992661 h 6857999"/>
              <a:gd name="connsiteX28" fmla="*/ 4786601 w 7121235"/>
              <a:gd name="connsiteY28" fmla="*/ 2786739 h 6857999"/>
              <a:gd name="connsiteX29" fmla="*/ 4431989 w 7121235"/>
              <a:gd name="connsiteY29" fmla="*/ 2576907 h 6857999"/>
              <a:gd name="connsiteX30" fmla="*/ 1102652 w 7121235"/>
              <a:gd name="connsiteY30" fmla="*/ 1508656 h 6857999"/>
              <a:gd name="connsiteX31" fmla="*/ 748040 w 7121235"/>
              <a:gd name="connsiteY31" fmla="*/ 1718488 h 6857999"/>
              <a:gd name="connsiteX32" fmla="*/ 1102652 w 7121235"/>
              <a:gd name="connsiteY32" fmla="*/ 1925714 h 6857999"/>
              <a:gd name="connsiteX33" fmla="*/ 5171998 w 7121235"/>
              <a:gd name="connsiteY33" fmla="*/ 1290240 h 6857999"/>
              <a:gd name="connsiteX34" fmla="*/ 5537301 w 7121235"/>
              <a:gd name="connsiteY34" fmla="*/ 1502371 h 6857999"/>
              <a:gd name="connsiteX35" fmla="*/ 5171998 w 7121235"/>
              <a:gd name="connsiteY35" fmla="*/ 1715844 h 6857999"/>
              <a:gd name="connsiteX36" fmla="*/ 4066685 w 7121235"/>
              <a:gd name="connsiteY36" fmla="*/ 1080308 h 6857999"/>
              <a:gd name="connsiteX37" fmla="*/ 3712073 w 7121235"/>
              <a:gd name="connsiteY37" fmla="*/ 1287534 h 6857999"/>
              <a:gd name="connsiteX38" fmla="*/ 4066685 w 7121235"/>
              <a:gd name="connsiteY38" fmla="*/ 1493458 h 6857999"/>
              <a:gd name="connsiteX39" fmla="*/ 4421297 w 7121235"/>
              <a:gd name="connsiteY39" fmla="*/ 1287534 h 6857999"/>
              <a:gd name="connsiteX40" fmla="*/ 1122744 w 7121235"/>
              <a:gd name="connsiteY40" fmla="*/ 654703 h 6857999"/>
              <a:gd name="connsiteX41" fmla="*/ 1122744 w 7121235"/>
              <a:gd name="connsiteY41" fmla="*/ 1067854 h 6857999"/>
              <a:gd name="connsiteX42" fmla="*/ 1477356 w 7121235"/>
              <a:gd name="connsiteY42" fmla="*/ 861930 h 6857999"/>
              <a:gd name="connsiteX43" fmla="*/ 370677 w 7121235"/>
              <a:gd name="connsiteY43" fmla="*/ 645792 h 6857999"/>
              <a:gd name="connsiteX44" fmla="*/ 735980 w 7121235"/>
              <a:gd name="connsiteY44" fmla="*/ 857923 h 6857999"/>
              <a:gd name="connsiteX45" fmla="*/ 370677 w 7121235"/>
              <a:gd name="connsiteY45" fmla="*/ 1071397 h 6857999"/>
              <a:gd name="connsiteX46" fmla="*/ 1488047 w 7121235"/>
              <a:gd name="connsiteY46" fmla="*/ 445638 h 6857999"/>
              <a:gd name="connsiteX47" fmla="*/ 1488047 w 7121235"/>
              <a:gd name="connsiteY47" fmla="*/ 858785 h 6857999"/>
              <a:gd name="connsiteX48" fmla="*/ 1842659 w 7121235"/>
              <a:gd name="connsiteY48" fmla="*/ 1062100 h 6857999"/>
              <a:gd name="connsiteX49" fmla="*/ 1842659 w 7121235"/>
              <a:gd name="connsiteY49" fmla="*/ 651560 h 6857999"/>
              <a:gd name="connsiteX50" fmla="*/ 2 w 7121235"/>
              <a:gd name="connsiteY50" fmla="*/ 1 h 6857999"/>
              <a:gd name="connsiteX51" fmla="*/ 2 w 7121235"/>
              <a:gd name="connsiteY51" fmla="*/ 4285577 h 6857999"/>
              <a:gd name="connsiteX52" fmla="*/ 2 w 7121235"/>
              <a:gd name="connsiteY52" fmla="*/ 4292290 h 6857999"/>
              <a:gd name="connsiteX53" fmla="*/ 365306 w 7121235"/>
              <a:gd name="connsiteY53" fmla="*/ 4504421 h 6857999"/>
              <a:gd name="connsiteX54" fmla="*/ 2 w 7121235"/>
              <a:gd name="connsiteY54" fmla="*/ 4717894 h 6857999"/>
              <a:gd name="connsiteX55" fmla="*/ 2 w 7121235"/>
              <a:gd name="connsiteY55" fmla="*/ 6857998 h 6857999"/>
              <a:gd name="connsiteX56" fmla="*/ 738668 w 7121235"/>
              <a:gd name="connsiteY56" fmla="*/ 6857998 h 6857999"/>
              <a:gd name="connsiteX57" fmla="*/ 738668 w 7121235"/>
              <a:gd name="connsiteY57" fmla="*/ 6425681 h 6857999"/>
              <a:gd name="connsiteX58" fmla="*/ 367992 w 7121235"/>
              <a:gd name="connsiteY58" fmla="*/ 6641840 h 6857999"/>
              <a:gd name="connsiteX59" fmla="*/ 367992 w 7121235"/>
              <a:gd name="connsiteY59" fmla="*/ 6216236 h 6857999"/>
              <a:gd name="connsiteX60" fmla="*/ 1108000 w 7121235"/>
              <a:gd name="connsiteY60" fmla="*/ 5783919 h 6857999"/>
              <a:gd name="connsiteX61" fmla="*/ 1108000 w 7121235"/>
              <a:gd name="connsiteY61" fmla="*/ 2789923 h 6857999"/>
              <a:gd name="connsiteX62" fmla="*/ 735981 w 7121235"/>
              <a:gd name="connsiteY62" fmla="*/ 2573765 h 6857999"/>
              <a:gd name="connsiteX63" fmla="*/ 735981 w 7121235"/>
              <a:gd name="connsiteY63" fmla="*/ 2141448 h 6857999"/>
              <a:gd name="connsiteX64" fmla="*/ 367992 w 7121235"/>
              <a:gd name="connsiteY64" fmla="*/ 1927974 h 6857999"/>
              <a:gd name="connsiteX65" fmla="*/ 367992 w 7121235"/>
              <a:gd name="connsiteY65" fmla="*/ 1499685 h 6857999"/>
              <a:gd name="connsiteX66" fmla="*/ 738668 w 7121235"/>
              <a:gd name="connsiteY66" fmla="*/ 1287554 h 6857999"/>
              <a:gd name="connsiteX67" fmla="*/ 738668 w 7121235"/>
              <a:gd name="connsiteY67" fmla="*/ 1 h 6857999"/>
              <a:gd name="connsiteX68" fmla="*/ 735981 w 7121235"/>
              <a:gd name="connsiteY68" fmla="*/ 1 h 6857999"/>
              <a:gd name="connsiteX69" fmla="*/ 0 w 7121235"/>
              <a:gd name="connsiteY69" fmla="*/ 0 h 6857999"/>
              <a:gd name="connsiteX70" fmla="*/ 7121235 w 7121235"/>
              <a:gd name="connsiteY70" fmla="*/ 0 h 6857999"/>
              <a:gd name="connsiteX71" fmla="*/ 7121235 w 7121235"/>
              <a:gd name="connsiteY71" fmla="*/ 1 h 6857999"/>
              <a:gd name="connsiteX72" fmla="*/ 2958692 w 7121235"/>
              <a:gd name="connsiteY72" fmla="*/ 1 h 6857999"/>
              <a:gd name="connsiteX73" fmla="*/ 4431990 w 7121235"/>
              <a:gd name="connsiteY73" fmla="*/ 857922 h 6857999"/>
              <a:gd name="connsiteX74" fmla="*/ 4431990 w 7121235"/>
              <a:gd name="connsiteY74" fmla="*/ 1292925 h 6857999"/>
              <a:gd name="connsiteX75" fmla="*/ 4793265 w 7121235"/>
              <a:gd name="connsiteY75" fmla="*/ 1502370 h 6857999"/>
              <a:gd name="connsiteX76" fmla="*/ 4793265 w 7121235"/>
              <a:gd name="connsiteY76" fmla="*/ 1934687 h 6857999"/>
              <a:gd name="connsiteX77" fmla="*/ 5165283 w 7121235"/>
              <a:gd name="connsiteY77" fmla="*/ 2148161 h 6857999"/>
              <a:gd name="connsiteX78" fmla="*/ 5165283 w 7121235"/>
              <a:gd name="connsiteY78" fmla="*/ 3427657 h 6857999"/>
              <a:gd name="connsiteX79" fmla="*/ 5537301 w 7121235"/>
              <a:gd name="connsiteY79" fmla="*/ 3641129 h 6857999"/>
              <a:gd name="connsiteX80" fmla="*/ 5537301 w 7121235"/>
              <a:gd name="connsiteY80" fmla="*/ 4927340 h 6857999"/>
              <a:gd name="connsiteX81" fmla="*/ 3691984 w 7121235"/>
              <a:gd name="connsiteY81" fmla="*/ 6000077 h 6857999"/>
              <a:gd name="connsiteX82" fmla="*/ 3691984 w 7121235"/>
              <a:gd name="connsiteY82" fmla="*/ 6848600 h 6857999"/>
              <a:gd name="connsiteX83" fmla="*/ 3691984 w 7121235"/>
              <a:gd name="connsiteY83" fmla="*/ 6857998 h 6857999"/>
              <a:gd name="connsiteX84" fmla="*/ 4431990 w 7121235"/>
              <a:gd name="connsiteY84" fmla="*/ 6857998 h 6857999"/>
              <a:gd name="connsiteX85" fmla="*/ 4431990 w 7121235"/>
              <a:gd name="connsiteY85" fmla="*/ 6429709 h 6857999"/>
              <a:gd name="connsiteX86" fmla="*/ 4797292 w 7121235"/>
              <a:gd name="connsiteY86" fmla="*/ 6641840 h 6857999"/>
              <a:gd name="connsiteX87" fmla="*/ 4431992 w 7121235"/>
              <a:gd name="connsiteY87" fmla="*/ 6857998 h 6857999"/>
              <a:gd name="connsiteX88" fmla="*/ 7121235 w 7121235"/>
              <a:gd name="connsiteY88" fmla="*/ 6857998 h 6857999"/>
              <a:gd name="connsiteX89" fmla="*/ 7121235 w 7121235"/>
              <a:gd name="connsiteY89" fmla="*/ 6857999 h 6857999"/>
              <a:gd name="connsiteX90" fmla="*/ 0 w 7121235"/>
              <a:gd name="connsiteY9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21235" h="6857999">
                <a:moveTo>
                  <a:pt x="1467955" y="6003620"/>
                </a:moveTo>
                <a:lnTo>
                  <a:pt x="1113343" y="6209544"/>
                </a:lnTo>
                <a:lnTo>
                  <a:pt x="1467955" y="6416770"/>
                </a:lnTo>
                <a:close/>
                <a:moveTo>
                  <a:pt x="4431990" y="5571788"/>
                </a:moveTo>
                <a:lnTo>
                  <a:pt x="4797292" y="5783919"/>
                </a:lnTo>
                <a:lnTo>
                  <a:pt x="4431990" y="5997393"/>
                </a:lnTo>
                <a:close/>
                <a:moveTo>
                  <a:pt x="370677" y="4927340"/>
                </a:moveTo>
                <a:lnTo>
                  <a:pt x="370677" y="5352945"/>
                </a:lnTo>
                <a:lnTo>
                  <a:pt x="2688" y="5139471"/>
                </a:lnTo>
                <a:close/>
                <a:moveTo>
                  <a:pt x="4434628" y="4724122"/>
                </a:moveTo>
                <a:lnTo>
                  <a:pt x="4434628" y="5137272"/>
                </a:lnTo>
                <a:lnTo>
                  <a:pt x="4787938" y="4930046"/>
                </a:lnTo>
                <a:close/>
                <a:moveTo>
                  <a:pt x="4812039" y="4078332"/>
                </a:moveTo>
                <a:lnTo>
                  <a:pt x="4812039" y="4491482"/>
                </a:lnTo>
                <a:lnTo>
                  <a:pt x="5166651" y="4285559"/>
                </a:lnTo>
                <a:close/>
                <a:moveTo>
                  <a:pt x="6275966" y="3218212"/>
                </a:moveTo>
                <a:lnTo>
                  <a:pt x="6275966" y="3643816"/>
                </a:lnTo>
                <a:lnTo>
                  <a:pt x="5912006" y="3430342"/>
                </a:lnTo>
                <a:close/>
                <a:moveTo>
                  <a:pt x="370677" y="3218212"/>
                </a:moveTo>
                <a:lnTo>
                  <a:pt x="735980" y="3430342"/>
                </a:lnTo>
                <a:lnTo>
                  <a:pt x="735980" y="4285578"/>
                </a:lnTo>
                <a:lnTo>
                  <a:pt x="370677" y="4076133"/>
                </a:lnTo>
                <a:close/>
                <a:moveTo>
                  <a:pt x="1481333" y="2579992"/>
                </a:moveTo>
                <a:lnTo>
                  <a:pt x="1481333" y="2993142"/>
                </a:lnTo>
                <a:lnTo>
                  <a:pt x="1835945" y="2785915"/>
                </a:lnTo>
                <a:close/>
                <a:moveTo>
                  <a:pt x="4077377" y="2369681"/>
                </a:moveTo>
                <a:lnTo>
                  <a:pt x="4077377" y="2786739"/>
                </a:lnTo>
                <a:lnTo>
                  <a:pt x="4431989" y="2992661"/>
                </a:lnTo>
                <a:lnTo>
                  <a:pt x="4786601" y="2786739"/>
                </a:lnTo>
                <a:lnTo>
                  <a:pt x="4431989" y="2576907"/>
                </a:lnTo>
                <a:close/>
                <a:moveTo>
                  <a:pt x="1102652" y="1508656"/>
                </a:moveTo>
                <a:lnTo>
                  <a:pt x="748040" y="1718488"/>
                </a:lnTo>
                <a:lnTo>
                  <a:pt x="1102652" y="1925714"/>
                </a:lnTo>
                <a:close/>
                <a:moveTo>
                  <a:pt x="5171998" y="1290240"/>
                </a:moveTo>
                <a:lnTo>
                  <a:pt x="5537301" y="1502371"/>
                </a:lnTo>
                <a:lnTo>
                  <a:pt x="5171998" y="1715844"/>
                </a:lnTo>
                <a:close/>
                <a:moveTo>
                  <a:pt x="4066685" y="1080308"/>
                </a:moveTo>
                <a:lnTo>
                  <a:pt x="3712073" y="1287534"/>
                </a:lnTo>
                <a:lnTo>
                  <a:pt x="4066685" y="1493458"/>
                </a:lnTo>
                <a:lnTo>
                  <a:pt x="4421297" y="1287534"/>
                </a:lnTo>
                <a:close/>
                <a:moveTo>
                  <a:pt x="1122744" y="654703"/>
                </a:moveTo>
                <a:lnTo>
                  <a:pt x="1122744" y="1067854"/>
                </a:lnTo>
                <a:lnTo>
                  <a:pt x="1477356" y="861930"/>
                </a:lnTo>
                <a:close/>
                <a:moveTo>
                  <a:pt x="370677" y="645792"/>
                </a:moveTo>
                <a:lnTo>
                  <a:pt x="735980" y="857923"/>
                </a:lnTo>
                <a:lnTo>
                  <a:pt x="370677" y="1071397"/>
                </a:lnTo>
                <a:close/>
                <a:moveTo>
                  <a:pt x="1488047" y="445638"/>
                </a:moveTo>
                <a:lnTo>
                  <a:pt x="1488047" y="858785"/>
                </a:lnTo>
                <a:lnTo>
                  <a:pt x="1842659" y="1062100"/>
                </a:lnTo>
                <a:lnTo>
                  <a:pt x="1842659" y="651560"/>
                </a:lnTo>
                <a:close/>
                <a:moveTo>
                  <a:pt x="2" y="1"/>
                </a:moveTo>
                <a:lnTo>
                  <a:pt x="2" y="4285577"/>
                </a:lnTo>
                <a:lnTo>
                  <a:pt x="2" y="4292290"/>
                </a:lnTo>
                <a:lnTo>
                  <a:pt x="365306" y="4504421"/>
                </a:lnTo>
                <a:lnTo>
                  <a:pt x="2" y="4717894"/>
                </a:lnTo>
                <a:lnTo>
                  <a:pt x="2" y="6857998"/>
                </a:lnTo>
                <a:lnTo>
                  <a:pt x="738668" y="6857998"/>
                </a:lnTo>
                <a:lnTo>
                  <a:pt x="738668" y="6425681"/>
                </a:lnTo>
                <a:lnTo>
                  <a:pt x="367992" y="6641840"/>
                </a:lnTo>
                <a:lnTo>
                  <a:pt x="367992" y="6216236"/>
                </a:lnTo>
                <a:lnTo>
                  <a:pt x="1108000" y="5783919"/>
                </a:lnTo>
                <a:lnTo>
                  <a:pt x="1108000" y="2789923"/>
                </a:lnTo>
                <a:lnTo>
                  <a:pt x="735981" y="2573765"/>
                </a:lnTo>
                <a:lnTo>
                  <a:pt x="735981" y="2141448"/>
                </a:lnTo>
                <a:lnTo>
                  <a:pt x="367992" y="1927974"/>
                </a:lnTo>
                <a:lnTo>
                  <a:pt x="367992" y="1499685"/>
                </a:lnTo>
                <a:lnTo>
                  <a:pt x="738668" y="1287554"/>
                </a:lnTo>
                <a:lnTo>
                  <a:pt x="738668" y="1"/>
                </a:lnTo>
                <a:lnTo>
                  <a:pt x="735981" y="1"/>
                </a:lnTo>
                <a:close/>
                <a:moveTo>
                  <a:pt x="0" y="0"/>
                </a:moveTo>
                <a:lnTo>
                  <a:pt x="7121235" y="0"/>
                </a:lnTo>
                <a:lnTo>
                  <a:pt x="7121235" y="1"/>
                </a:lnTo>
                <a:lnTo>
                  <a:pt x="2958692" y="1"/>
                </a:lnTo>
                <a:lnTo>
                  <a:pt x="4431990" y="857922"/>
                </a:lnTo>
                <a:lnTo>
                  <a:pt x="4431990" y="1292925"/>
                </a:lnTo>
                <a:lnTo>
                  <a:pt x="4793265" y="1502370"/>
                </a:lnTo>
                <a:lnTo>
                  <a:pt x="4793265" y="1934687"/>
                </a:lnTo>
                <a:lnTo>
                  <a:pt x="5165283" y="2148161"/>
                </a:lnTo>
                <a:lnTo>
                  <a:pt x="5165283" y="3427657"/>
                </a:lnTo>
                <a:lnTo>
                  <a:pt x="5537301" y="3641129"/>
                </a:lnTo>
                <a:lnTo>
                  <a:pt x="5537301" y="4927340"/>
                </a:lnTo>
                <a:lnTo>
                  <a:pt x="3691984" y="6000077"/>
                </a:lnTo>
                <a:lnTo>
                  <a:pt x="3691984" y="6848600"/>
                </a:lnTo>
                <a:lnTo>
                  <a:pt x="3691984" y="6857998"/>
                </a:lnTo>
                <a:lnTo>
                  <a:pt x="4431990" y="6857998"/>
                </a:lnTo>
                <a:lnTo>
                  <a:pt x="4431990" y="6429709"/>
                </a:lnTo>
                <a:lnTo>
                  <a:pt x="4797292" y="6641840"/>
                </a:lnTo>
                <a:lnTo>
                  <a:pt x="4431992" y="6857998"/>
                </a:lnTo>
                <a:lnTo>
                  <a:pt x="7121235" y="6857998"/>
                </a:lnTo>
                <a:lnTo>
                  <a:pt x="7121235" y="6857999"/>
                </a:lnTo>
                <a:lnTo>
                  <a:pt x="0" y="6857999"/>
                </a:lnTo>
                <a:close/>
              </a:path>
            </a:pathLst>
          </a:custGeom>
        </p:spPr>
        <p:txBody>
          <a:bodyPr wrap="square">
            <a:noAutofit/>
          </a:bodyPr>
          <a:lstStyle>
            <a:lvl1pPr marL="0" indent="0">
              <a:buNone/>
              <a:defRPr sz="1200">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r>
              <a:rPr lang="en-US"/>
              <a:t>Click icon to add picture</a:t>
            </a:r>
            <a:endParaRPr lang="ar-SA"/>
          </a:p>
        </p:txBody>
      </p:sp>
      <p:sp>
        <p:nvSpPr>
          <p:cNvPr id="34" name="Title 1">
            <a:extLst>
              <a:ext uri="{FF2B5EF4-FFF2-40B4-BE49-F238E27FC236}">
                <a16:creationId xmlns:a16="http://schemas.microsoft.com/office/drawing/2014/main" id="{31BBA778-64E4-9C4C-8806-1A8C377A972B}"/>
              </a:ext>
            </a:extLst>
          </p:cNvPr>
          <p:cNvSpPr>
            <a:spLocks noGrp="1"/>
          </p:cNvSpPr>
          <p:nvPr>
            <p:ph type="title" hasCustomPrompt="1"/>
          </p:nvPr>
        </p:nvSpPr>
        <p:spPr>
          <a:xfrm>
            <a:off x="7799185" y="1658320"/>
            <a:ext cx="3179763" cy="1913364"/>
          </a:xfrm>
        </p:spPr>
        <p:txBody>
          <a:bodyPr lIns="0" tIns="0" rIns="0" bIns="0" anchor="b">
            <a:noAutofit/>
          </a:bodyPr>
          <a:lstStyle>
            <a:lvl1pPr>
              <a:defRPr sz="4400" b="1">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Divider title goes here</a:t>
            </a:r>
            <a:endParaRPr lang="ar-SA"/>
          </a:p>
        </p:txBody>
      </p:sp>
      <p:sp>
        <p:nvSpPr>
          <p:cNvPr id="35" name="Text Placeholder 2">
            <a:extLst>
              <a:ext uri="{FF2B5EF4-FFF2-40B4-BE49-F238E27FC236}">
                <a16:creationId xmlns:a16="http://schemas.microsoft.com/office/drawing/2014/main" id="{F91C9796-CB07-194B-B62D-8AC12B657E13}"/>
              </a:ext>
            </a:extLst>
          </p:cNvPr>
          <p:cNvSpPr>
            <a:spLocks noGrp="1"/>
          </p:cNvSpPr>
          <p:nvPr>
            <p:ph type="body" idx="1" hasCustomPrompt="1"/>
          </p:nvPr>
        </p:nvSpPr>
        <p:spPr>
          <a:xfrm>
            <a:off x="7799184" y="3768851"/>
            <a:ext cx="3179763" cy="1140182"/>
          </a:xfrm>
        </p:spPr>
        <p:txBody>
          <a:bodyPr lIns="0" tIns="0" rIns="0" bIns="0">
            <a:noAutofit/>
          </a:bodyPr>
          <a:lstStyle>
            <a:lvl1pPr marL="0" indent="0">
              <a:buNone/>
              <a:defRPr sz="2000">
                <a:solidFill>
                  <a:srgbClr val="8D8FA4"/>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Tree>
    <p:extLst>
      <p:ext uri="{BB962C8B-B14F-4D97-AF65-F5344CB8AC3E}">
        <p14:creationId xmlns:p14="http://schemas.microsoft.com/office/powerpoint/2010/main" val="1989620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with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67443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6"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985D392-8695-4E80-ACA0-E9368BC8B06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reeform 9"/>
          <p:cNvSpPr>
            <a:spLocks/>
          </p:cNvSpPr>
          <p:nvPr userDrawn="1"/>
        </p:nvSpPr>
        <p:spPr bwMode="auto">
          <a:xfrm>
            <a:off x="-1" y="-1"/>
            <a:ext cx="12197674" cy="6858000"/>
          </a:xfrm>
          <a:custGeom>
            <a:avLst/>
            <a:gdLst>
              <a:gd name="connsiteX0" fmla="*/ 4065892 w 12197674"/>
              <a:gd name="connsiteY0" fmla="*/ 5358485 h 6858000"/>
              <a:gd name="connsiteX1" fmla="*/ 3700420 w 12197674"/>
              <a:gd name="connsiteY1" fmla="*/ 5570782 h 6858000"/>
              <a:gd name="connsiteX2" fmla="*/ 4065892 w 12197674"/>
              <a:gd name="connsiteY2" fmla="*/ 5784423 h 6858000"/>
              <a:gd name="connsiteX3" fmla="*/ 4436741 w 12197674"/>
              <a:gd name="connsiteY3" fmla="*/ 3431688 h 6858000"/>
              <a:gd name="connsiteX4" fmla="*/ 4068580 w 12197674"/>
              <a:gd name="connsiteY4" fmla="*/ 3645329 h 6858000"/>
              <a:gd name="connsiteX5" fmla="*/ 4436741 w 12197674"/>
              <a:gd name="connsiteY5" fmla="*/ 3857626 h 6858000"/>
              <a:gd name="connsiteX6" fmla="*/ 4802214 w 12197674"/>
              <a:gd name="connsiteY6" fmla="*/ 3645329 h 6858000"/>
              <a:gd name="connsiteX7" fmla="*/ 0 w 12197674"/>
              <a:gd name="connsiteY7" fmla="*/ 854563 h 6858000"/>
              <a:gd name="connsiteX8" fmla="*/ 370849 w 12197674"/>
              <a:gd name="connsiteY8" fmla="*/ 1068204 h 6858000"/>
              <a:gd name="connsiteX9" fmla="*/ 368162 w 12197674"/>
              <a:gd name="connsiteY9" fmla="*/ 1499516 h 6858000"/>
              <a:gd name="connsiteX10" fmla="*/ 739010 w 12197674"/>
              <a:gd name="connsiteY10" fmla="*/ 1713157 h 6858000"/>
              <a:gd name="connsiteX11" fmla="*/ 739010 w 12197674"/>
              <a:gd name="connsiteY11" fmla="*/ 2145814 h 6858000"/>
              <a:gd name="connsiteX12" fmla="*/ 368162 w 12197674"/>
              <a:gd name="connsiteY12" fmla="*/ 2358110 h 6858000"/>
              <a:gd name="connsiteX13" fmla="*/ 368162 w 12197674"/>
              <a:gd name="connsiteY13" fmla="*/ 3212672 h 6858000"/>
              <a:gd name="connsiteX14" fmla="*/ 736323 w 12197674"/>
              <a:gd name="connsiteY14" fmla="*/ 3431688 h 6858000"/>
              <a:gd name="connsiteX15" fmla="*/ 736323 w 12197674"/>
              <a:gd name="connsiteY15" fmla="*/ 5574813 h 6858000"/>
              <a:gd name="connsiteX16" fmla="*/ 368162 w 12197674"/>
              <a:gd name="connsiteY16" fmla="*/ 5787110 h 6858000"/>
              <a:gd name="connsiteX17" fmla="*/ 368162 w 12197674"/>
              <a:gd name="connsiteY17" fmla="*/ 6858000 h 6858000"/>
              <a:gd name="connsiteX18" fmla="*/ 0 w 12197674"/>
              <a:gd name="connsiteY18" fmla="*/ 6858000 h 6858000"/>
              <a:gd name="connsiteX19" fmla="*/ 4434053 w 12197674"/>
              <a:gd name="connsiteY19" fmla="*/ 428626 h 6858000"/>
              <a:gd name="connsiteX20" fmla="*/ 4068581 w 12197674"/>
              <a:gd name="connsiteY20" fmla="*/ 642267 h 6858000"/>
              <a:gd name="connsiteX21" fmla="*/ 4434053 w 12197674"/>
              <a:gd name="connsiteY21" fmla="*/ 858595 h 6858000"/>
              <a:gd name="connsiteX22" fmla="*/ 3321509 w 12197674"/>
              <a:gd name="connsiteY22" fmla="*/ 0 h 6858000"/>
              <a:gd name="connsiteX23" fmla="*/ 12197674 w 12197674"/>
              <a:gd name="connsiteY23" fmla="*/ 0 h 6858000"/>
              <a:gd name="connsiteX24" fmla="*/ 12197674 w 12197674"/>
              <a:gd name="connsiteY24" fmla="*/ 6858000 h 6858000"/>
              <a:gd name="connsiteX25" fmla="*/ 2960066 w 12197674"/>
              <a:gd name="connsiteY25" fmla="*/ 6858000 h 6858000"/>
              <a:gd name="connsiteX26" fmla="*/ 2957378 w 12197674"/>
              <a:gd name="connsiteY26" fmla="*/ 6858000 h 6858000"/>
              <a:gd name="connsiteX27" fmla="*/ 2957378 w 12197674"/>
              <a:gd name="connsiteY27" fmla="*/ 6852626 h 6858000"/>
              <a:gd name="connsiteX28" fmla="*/ 2957378 w 12197674"/>
              <a:gd name="connsiteY28" fmla="*/ 5570782 h 6858000"/>
              <a:gd name="connsiteX29" fmla="*/ 3325540 w 12197674"/>
              <a:gd name="connsiteY29" fmla="*/ 5354454 h 6858000"/>
              <a:gd name="connsiteX30" fmla="*/ 3325540 w 12197674"/>
              <a:gd name="connsiteY30" fmla="*/ 4499891 h 6858000"/>
              <a:gd name="connsiteX31" fmla="*/ 3693701 w 12197674"/>
              <a:gd name="connsiteY31" fmla="*/ 4283563 h 6858000"/>
              <a:gd name="connsiteX32" fmla="*/ 3693701 w 12197674"/>
              <a:gd name="connsiteY32" fmla="*/ 3857625 h 6858000"/>
              <a:gd name="connsiteX33" fmla="*/ 4065892 w 12197674"/>
              <a:gd name="connsiteY33" fmla="*/ 3642641 h 6858000"/>
              <a:gd name="connsiteX34" fmla="*/ 4065892 w 12197674"/>
              <a:gd name="connsiteY34" fmla="*/ 1073578 h 6858000"/>
              <a:gd name="connsiteX35" fmla="*/ 3696388 w 12197674"/>
              <a:gd name="connsiteY35" fmla="*/ 854563 h 6858000"/>
              <a:gd name="connsiteX36" fmla="*/ 3696388 w 12197674"/>
              <a:gd name="connsiteY36" fmla="*/ 428625 h 6858000"/>
              <a:gd name="connsiteX37" fmla="*/ 3321509 w 12197674"/>
              <a:gd name="connsiteY37" fmla="*/ 216328 h 6858000"/>
              <a:gd name="connsiteX38" fmla="*/ 0 w 12197674"/>
              <a:gd name="connsiteY38" fmla="*/ 0 h 6858000"/>
              <a:gd name="connsiteX39" fmla="*/ 370849 w 12197674"/>
              <a:gd name="connsiteY39" fmla="*/ 0 h 6858000"/>
              <a:gd name="connsiteX40" fmla="*/ 370849 w 12197674"/>
              <a:gd name="connsiteY40" fmla="*/ 216328 h 6858000"/>
              <a:gd name="connsiteX41" fmla="*/ 0 w 12197674"/>
              <a:gd name="connsiteY41" fmla="*/ 4286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7674" h="6858000">
                <a:moveTo>
                  <a:pt x="4065892" y="5358485"/>
                </a:moveTo>
                <a:lnTo>
                  <a:pt x="3700420" y="5570782"/>
                </a:lnTo>
                <a:lnTo>
                  <a:pt x="4065892" y="5784423"/>
                </a:lnTo>
                <a:close/>
                <a:moveTo>
                  <a:pt x="4436741" y="3431688"/>
                </a:moveTo>
                <a:lnTo>
                  <a:pt x="4068580" y="3645329"/>
                </a:lnTo>
                <a:lnTo>
                  <a:pt x="4436741" y="3857626"/>
                </a:lnTo>
                <a:lnTo>
                  <a:pt x="4802214" y="3645329"/>
                </a:lnTo>
                <a:close/>
                <a:moveTo>
                  <a:pt x="0" y="854563"/>
                </a:moveTo>
                <a:lnTo>
                  <a:pt x="370849" y="1068204"/>
                </a:lnTo>
                <a:lnTo>
                  <a:pt x="368162" y="1499516"/>
                </a:lnTo>
                <a:lnTo>
                  <a:pt x="739010" y="1713157"/>
                </a:lnTo>
                <a:lnTo>
                  <a:pt x="739010" y="2145814"/>
                </a:lnTo>
                <a:lnTo>
                  <a:pt x="368162" y="2358110"/>
                </a:lnTo>
                <a:lnTo>
                  <a:pt x="368162" y="3212672"/>
                </a:lnTo>
                <a:lnTo>
                  <a:pt x="736323" y="3431688"/>
                </a:lnTo>
                <a:lnTo>
                  <a:pt x="736323" y="5574813"/>
                </a:lnTo>
                <a:lnTo>
                  <a:pt x="368162" y="5787110"/>
                </a:lnTo>
                <a:lnTo>
                  <a:pt x="368162" y="6858000"/>
                </a:lnTo>
                <a:lnTo>
                  <a:pt x="0" y="6858000"/>
                </a:lnTo>
                <a:close/>
                <a:moveTo>
                  <a:pt x="4434053" y="428626"/>
                </a:moveTo>
                <a:lnTo>
                  <a:pt x="4068581" y="642267"/>
                </a:lnTo>
                <a:lnTo>
                  <a:pt x="4434053" y="858595"/>
                </a:lnTo>
                <a:close/>
                <a:moveTo>
                  <a:pt x="3321509" y="0"/>
                </a:moveTo>
                <a:lnTo>
                  <a:pt x="12197674" y="0"/>
                </a:lnTo>
                <a:lnTo>
                  <a:pt x="12197674" y="6858000"/>
                </a:lnTo>
                <a:lnTo>
                  <a:pt x="2960066" y="6858000"/>
                </a:lnTo>
                <a:lnTo>
                  <a:pt x="2957378" y="6858000"/>
                </a:lnTo>
                <a:lnTo>
                  <a:pt x="2957378" y="6852626"/>
                </a:lnTo>
                <a:lnTo>
                  <a:pt x="2957378" y="5570782"/>
                </a:lnTo>
                <a:lnTo>
                  <a:pt x="3325540" y="5354454"/>
                </a:lnTo>
                <a:lnTo>
                  <a:pt x="3325540" y="4499891"/>
                </a:lnTo>
                <a:lnTo>
                  <a:pt x="3693701" y="4283563"/>
                </a:lnTo>
                <a:lnTo>
                  <a:pt x="3693701" y="3857625"/>
                </a:lnTo>
                <a:lnTo>
                  <a:pt x="4065892" y="3642641"/>
                </a:lnTo>
                <a:lnTo>
                  <a:pt x="4065892" y="1073578"/>
                </a:lnTo>
                <a:lnTo>
                  <a:pt x="3696388" y="854563"/>
                </a:lnTo>
                <a:lnTo>
                  <a:pt x="3696388" y="428625"/>
                </a:lnTo>
                <a:lnTo>
                  <a:pt x="3321509" y="216328"/>
                </a:lnTo>
                <a:close/>
                <a:moveTo>
                  <a:pt x="0" y="0"/>
                </a:moveTo>
                <a:lnTo>
                  <a:pt x="370849" y="0"/>
                </a:lnTo>
                <a:lnTo>
                  <a:pt x="370849" y="216328"/>
                </a:lnTo>
                <a:lnTo>
                  <a:pt x="0" y="428625"/>
                </a:ln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1" name="Freeform 10"/>
          <p:cNvSpPr>
            <a:spLocks/>
          </p:cNvSpPr>
          <p:nvPr userDrawn="1"/>
        </p:nvSpPr>
        <p:spPr bwMode="auto">
          <a:xfrm>
            <a:off x="4436739" y="1287219"/>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E9B43"/>
              </a:gs>
              <a:gs pos="100000">
                <a:srgbClr val="FE9441"/>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2" name="Freeform 11"/>
          <p:cNvSpPr>
            <a:spLocks/>
          </p:cNvSpPr>
          <p:nvPr userDrawn="1"/>
        </p:nvSpPr>
        <p:spPr bwMode="auto">
          <a:xfrm>
            <a:off x="1111200" y="1070891"/>
            <a:ext cx="368161" cy="425938"/>
          </a:xfrm>
          <a:custGeom>
            <a:avLst/>
            <a:gdLst>
              <a:gd name="T0" fmla="*/ 0 w 274"/>
              <a:gd name="T1" fmla="*/ 317 h 317"/>
              <a:gd name="T2" fmla="*/ 0 w 274"/>
              <a:gd name="T3" fmla="*/ 0 h 317"/>
              <a:gd name="T4" fmla="*/ 274 w 274"/>
              <a:gd name="T5" fmla="*/ 159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9"/>
                </a:lnTo>
                <a:lnTo>
                  <a:pt x="0" y="317"/>
                </a:lnTo>
                <a:close/>
              </a:path>
            </a:pathLst>
          </a:custGeom>
          <a:gradFill>
            <a:gsLst>
              <a:gs pos="0">
                <a:srgbClr val="FE9B43"/>
              </a:gs>
              <a:gs pos="100000">
                <a:srgbClr val="FE9441"/>
              </a:gs>
            </a:gsLst>
            <a:lin ang="5400000" scaled="1"/>
          </a:gradFill>
          <a:ln>
            <a:noFill/>
          </a:ln>
        </p:spPr>
        <p:txBody>
          <a:bodyPr vert="horz" wrap="square" lIns="91440" tIns="45720" rIns="91440" bIns="45720" numCol="1" anchor="t" anchorCtr="0" compatLnSpc="1">
            <a:prstTxWarp prst="textNoShape">
              <a:avLst/>
            </a:prstTxWarp>
          </a:bodyPr>
          <a:lstStyle/>
          <a:p>
            <a:pPr lv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6" name="Freeform 15"/>
          <p:cNvSpPr>
            <a:spLocks/>
          </p:cNvSpPr>
          <p:nvPr userDrawn="1"/>
        </p:nvSpPr>
        <p:spPr bwMode="auto">
          <a:xfrm>
            <a:off x="736321" y="6003437"/>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5D4264"/>
              </a:gs>
              <a:gs pos="100000">
                <a:srgbClr val="463B6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7" name="Freeform 16"/>
          <p:cNvSpPr>
            <a:spLocks/>
          </p:cNvSpPr>
          <p:nvPr userDrawn="1"/>
        </p:nvSpPr>
        <p:spPr bwMode="auto">
          <a:xfrm>
            <a:off x="3700418" y="6215734"/>
            <a:ext cx="365473" cy="425938"/>
          </a:xfrm>
          <a:custGeom>
            <a:avLst/>
            <a:gdLst>
              <a:gd name="T0" fmla="*/ 272 w 272"/>
              <a:gd name="T1" fmla="*/ 317 h 317"/>
              <a:gd name="T2" fmla="*/ 272 w 272"/>
              <a:gd name="T3" fmla="*/ 0 h 317"/>
              <a:gd name="T4" fmla="*/ 0 w 272"/>
              <a:gd name="T5" fmla="*/ 159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272" y="0"/>
                </a:lnTo>
                <a:lnTo>
                  <a:pt x="0" y="159"/>
                </a:lnTo>
                <a:lnTo>
                  <a:pt x="272" y="317"/>
                </a:lnTo>
                <a:close/>
              </a:path>
            </a:pathLst>
          </a:custGeom>
          <a:gradFill>
            <a:gsLst>
              <a:gs pos="0">
                <a:srgbClr val="4B3C66"/>
              </a:gs>
              <a:gs pos="100000">
                <a:srgbClr val="39386B"/>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9" name="Freeform 11"/>
          <p:cNvSpPr>
            <a:spLocks/>
          </p:cNvSpPr>
          <p:nvPr userDrawn="1"/>
        </p:nvSpPr>
        <p:spPr bwMode="auto">
          <a:xfrm>
            <a:off x="3325539" y="5784422"/>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66425F"/>
              </a:gs>
              <a:gs pos="100000">
                <a:srgbClr val="513E6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1" name="Freeform 12"/>
          <p:cNvSpPr>
            <a:spLocks/>
          </p:cNvSpPr>
          <p:nvPr userDrawn="1"/>
        </p:nvSpPr>
        <p:spPr bwMode="auto">
          <a:xfrm>
            <a:off x="3332257" y="2793453"/>
            <a:ext cx="368161" cy="425938"/>
          </a:xfrm>
          <a:custGeom>
            <a:avLst/>
            <a:gdLst>
              <a:gd name="T0" fmla="*/ 0 w 274"/>
              <a:gd name="T1" fmla="*/ 317 h 317"/>
              <a:gd name="T2" fmla="*/ 0 w 274"/>
              <a:gd name="T3" fmla="*/ 0 h 317"/>
              <a:gd name="T4" fmla="*/ 274 w 274"/>
              <a:gd name="T5" fmla="*/ 159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9"/>
                </a:lnTo>
                <a:lnTo>
                  <a:pt x="0" y="317"/>
                </a:lnTo>
                <a:close/>
              </a:path>
            </a:pathLst>
          </a:custGeom>
          <a:gradFill>
            <a:gsLst>
              <a:gs pos="0">
                <a:srgbClr val="FF7638"/>
              </a:gs>
              <a:gs pos="100000">
                <a:srgbClr val="FF6E3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3" name="Freeform 13"/>
          <p:cNvSpPr>
            <a:spLocks/>
          </p:cNvSpPr>
          <p:nvPr userDrawn="1"/>
        </p:nvSpPr>
        <p:spPr bwMode="auto">
          <a:xfrm>
            <a:off x="1111200" y="1713156"/>
            <a:ext cx="368161" cy="428625"/>
          </a:xfrm>
          <a:custGeom>
            <a:avLst/>
            <a:gdLst>
              <a:gd name="T0" fmla="*/ 274 w 274"/>
              <a:gd name="T1" fmla="*/ 319 h 319"/>
              <a:gd name="T2" fmla="*/ 274 w 274"/>
              <a:gd name="T3" fmla="*/ 0 h 319"/>
              <a:gd name="T4" fmla="*/ 0 w 274"/>
              <a:gd name="T5" fmla="*/ 158 h 319"/>
              <a:gd name="T6" fmla="*/ 274 w 274"/>
              <a:gd name="T7" fmla="*/ 319 h 319"/>
            </a:gdLst>
            <a:ahLst/>
            <a:cxnLst>
              <a:cxn ang="0">
                <a:pos x="T0" y="T1"/>
              </a:cxn>
              <a:cxn ang="0">
                <a:pos x="T2" y="T3"/>
              </a:cxn>
              <a:cxn ang="0">
                <a:pos x="T4" y="T5"/>
              </a:cxn>
              <a:cxn ang="0">
                <a:pos x="T6" y="T7"/>
              </a:cxn>
            </a:cxnLst>
            <a:rect l="0" t="0" r="r" b="b"/>
            <a:pathLst>
              <a:path w="274" h="319">
                <a:moveTo>
                  <a:pt x="274" y="319"/>
                </a:moveTo>
                <a:lnTo>
                  <a:pt x="274" y="0"/>
                </a:lnTo>
                <a:lnTo>
                  <a:pt x="0" y="158"/>
                </a:lnTo>
                <a:lnTo>
                  <a:pt x="274" y="319"/>
                </a:lnTo>
                <a:close/>
              </a:path>
            </a:pathLst>
          </a:custGeom>
          <a:gradFill>
            <a:gsLst>
              <a:gs pos="0">
                <a:srgbClr val="FE9040"/>
              </a:gs>
              <a:gs pos="100000">
                <a:srgbClr val="FE893D"/>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4" name="Freeform 14"/>
          <p:cNvSpPr>
            <a:spLocks/>
          </p:cNvSpPr>
          <p:nvPr userDrawn="1"/>
        </p:nvSpPr>
        <p:spPr bwMode="auto">
          <a:xfrm>
            <a:off x="4065891" y="4283563"/>
            <a:ext cx="729603" cy="1074922"/>
          </a:xfrm>
          <a:custGeom>
            <a:avLst/>
            <a:gdLst>
              <a:gd name="T0" fmla="*/ 0 w 543"/>
              <a:gd name="T1" fmla="*/ 159 h 800"/>
              <a:gd name="T2" fmla="*/ 0 w 543"/>
              <a:gd name="T3" fmla="*/ 800 h 800"/>
              <a:gd name="T4" fmla="*/ 272 w 543"/>
              <a:gd name="T5" fmla="*/ 641 h 800"/>
              <a:gd name="T6" fmla="*/ 272 w 543"/>
              <a:gd name="T7" fmla="*/ 317 h 800"/>
              <a:gd name="T8" fmla="*/ 543 w 543"/>
              <a:gd name="T9" fmla="*/ 159 h 800"/>
              <a:gd name="T10" fmla="*/ 272 w 543"/>
              <a:gd name="T11" fmla="*/ 0 h 800"/>
              <a:gd name="T12" fmla="*/ 0 w 543"/>
              <a:gd name="T13" fmla="*/ 159 h 800"/>
            </a:gdLst>
            <a:ahLst/>
            <a:cxnLst>
              <a:cxn ang="0">
                <a:pos x="T0" y="T1"/>
              </a:cxn>
              <a:cxn ang="0">
                <a:pos x="T2" y="T3"/>
              </a:cxn>
              <a:cxn ang="0">
                <a:pos x="T4" y="T5"/>
              </a:cxn>
              <a:cxn ang="0">
                <a:pos x="T6" y="T7"/>
              </a:cxn>
              <a:cxn ang="0">
                <a:pos x="T8" y="T9"/>
              </a:cxn>
              <a:cxn ang="0">
                <a:pos x="T10" y="T11"/>
              </a:cxn>
              <a:cxn ang="0">
                <a:pos x="T12" y="T13"/>
              </a:cxn>
            </a:cxnLst>
            <a:rect l="0" t="0" r="r" b="b"/>
            <a:pathLst>
              <a:path w="543" h="800">
                <a:moveTo>
                  <a:pt x="0" y="159"/>
                </a:moveTo>
                <a:lnTo>
                  <a:pt x="0" y="800"/>
                </a:lnTo>
                <a:lnTo>
                  <a:pt x="272" y="641"/>
                </a:lnTo>
                <a:lnTo>
                  <a:pt x="272" y="317"/>
                </a:lnTo>
                <a:lnTo>
                  <a:pt x="543" y="159"/>
                </a:lnTo>
                <a:lnTo>
                  <a:pt x="272" y="0"/>
                </a:lnTo>
                <a:lnTo>
                  <a:pt x="0" y="159"/>
                </a:lnTo>
                <a:close/>
              </a:path>
            </a:pathLst>
          </a:custGeom>
          <a:gradFill>
            <a:gsLst>
              <a:gs pos="0">
                <a:srgbClr val="C65943"/>
              </a:gs>
              <a:gs pos="100000">
                <a:srgbClr val="8C4B5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5" name="Freeform 15"/>
          <p:cNvSpPr>
            <a:spLocks/>
          </p:cNvSpPr>
          <p:nvPr userDrawn="1"/>
        </p:nvSpPr>
        <p:spPr bwMode="auto">
          <a:xfrm>
            <a:off x="370848" y="428625"/>
            <a:ext cx="730947" cy="425938"/>
          </a:xfrm>
          <a:custGeom>
            <a:avLst/>
            <a:gdLst>
              <a:gd name="T0" fmla="*/ 272 w 544"/>
              <a:gd name="T1" fmla="*/ 0 h 317"/>
              <a:gd name="T2" fmla="*/ 0 w 544"/>
              <a:gd name="T3" fmla="*/ 159 h 317"/>
              <a:gd name="T4" fmla="*/ 272 w 544"/>
              <a:gd name="T5" fmla="*/ 317 h 317"/>
              <a:gd name="T6" fmla="*/ 544 w 544"/>
              <a:gd name="T7" fmla="*/ 159 h 317"/>
              <a:gd name="T8" fmla="*/ 272 w 544"/>
              <a:gd name="T9" fmla="*/ 0 h 317"/>
            </a:gdLst>
            <a:ahLst/>
            <a:cxnLst>
              <a:cxn ang="0">
                <a:pos x="T0" y="T1"/>
              </a:cxn>
              <a:cxn ang="0">
                <a:pos x="T2" y="T3"/>
              </a:cxn>
              <a:cxn ang="0">
                <a:pos x="T4" y="T5"/>
              </a:cxn>
              <a:cxn ang="0">
                <a:pos x="T6" y="T7"/>
              </a:cxn>
              <a:cxn ang="0">
                <a:pos x="T8" y="T9"/>
              </a:cxn>
            </a:cxnLst>
            <a:rect l="0" t="0" r="r" b="b"/>
            <a:pathLst>
              <a:path w="544" h="317">
                <a:moveTo>
                  <a:pt x="272" y="0"/>
                </a:moveTo>
                <a:lnTo>
                  <a:pt x="0" y="159"/>
                </a:lnTo>
                <a:lnTo>
                  <a:pt x="272" y="317"/>
                </a:lnTo>
                <a:lnTo>
                  <a:pt x="544" y="159"/>
                </a:lnTo>
                <a:lnTo>
                  <a:pt x="272" y="0"/>
                </a:lnTo>
                <a:close/>
              </a:path>
            </a:pathLst>
          </a:custGeom>
          <a:gradFill>
            <a:gsLst>
              <a:gs pos="0">
                <a:srgbClr val="FDB14A"/>
              </a:gs>
              <a:gs pos="100000">
                <a:srgbClr val="FDA94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6" name="Freeform 16"/>
          <p:cNvSpPr>
            <a:spLocks/>
          </p:cNvSpPr>
          <p:nvPr userDrawn="1"/>
        </p:nvSpPr>
        <p:spPr bwMode="auto">
          <a:xfrm>
            <a:off x="4436739" y="2370202"/>
            <a:ext cx="368161" cy="636891"/>
          </a:xfrm>
          <a:custGeom>
            <a:avLst/>
            <a:gdLst>
              <a:gd name="T0" fmla="*/ 0 w 274"/>
              <a:gd name="T1" fmla="*/ 157 h 474"/>
              <a:gd name="T2" fmla="*/ 3 w 274"/>
              <a:gd name="T3" fmla="*/ 474 h 474"/>
              <a:gd name="T4" fmla="*/ 274 w 274"/>
              <a:gd name="T5" fmla="*/ 315 h 474"/>
              <a:gd name="T6" fmla="*/ 272 w 274"/>
              <a:gd name="T7" fmla="*/ 0 h 474"/>
              <a:gd name="T8" fmla="*/ 0 w 274"/>
              <a:gd name="T9" fmla="*/ 157 h 474"/>
            </a:gdLst>
            <a:ahLst/>
            <a:cxnLst>
              <a:cxn ang="0">
                <a:pos x="T0" y="T1"/>
              </a:cxn>
              <a:cxn ang="0">
                <a:pos x="T2" y="T3"/>
              </a:cxn>
              <a:cxn ang="0">
                <a:pos x="T4" y="T5"/>
              </a:cxn>
              <a:cxn ang="0">
                <a:pos x="T6" y="T7"/>
              </a:cxn>
              <a:cxn ang="0">
                <a:pos x="T8" y="T9"/>
              </a:cxn>
            </a:cxnLst>
            <a:rect l="0" t="0" r="r" b="b"/>
            <a:pathLst>
              <a:path w="274" h="474">
                <a:moveTo>
                  <a:pt x="0" y="157"/>
                </a:moveTo>
                <a:lnTo>
                  <a:pt x="3" y="474"/>
                </a:lnTo>
                <a:lnTo>
                  <a:pt x="274" y="315"/>
                </a:lnTo>
                <a:lnTo>
                  <a:pt x="272" y="0"/>
                </a:lnTo>
                <a:lnTo>
                  <a:pt x="0" y="157"/>
                </a:lnTo>
                <a:close/>
              </a:path>
            </a:pathLst>
          </a:custGeom>
          <a:gradFill>
            <a:gsLst>
              <a:gs pos="0">
                <a:srgbClr val="FE803B"/>
              </a:gs>
              <a:gs pos="100000">
                <a:srgbClr val="FF733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7" name="Freeform 21"/>
          <p:cNvSpPr>
            <a:spLocks/>
          </p:cNvSpPr>
          <p:nvPr userDrawn="1"/>
        </p:nvSpPr>
        <p:spPr bwMode="auto">
          <a:xfrm>
            <a:off x="3337632" y="858594"/>
            <a:ext cx="730947" cy="854563"/>
          </a:xfrm>
          <a:custGeom>
            <a:avLst/>
            <a:gdLst>
              <a:gd name="T0" fmla="*/ 0 w 544"/>
              <a:gd name="T1" fmla="*/ 477 h 636"/>
              <a:gd name="T2" fmla="*/ 0 w 544"/>
              <a:gd name="T3" fmla="*/ 160 h 636"/>
              <a:gd name="T4" fmla="*/ 272 w 544"/>
              <a:gd name="T5" fmla="*/ 0 h 636"/>
              <a:gd name="T6" fmla="*/ 272 w 544"/>
              <a:gd name="T7" fmla="*/ 319 h 636"/>
              <a:gd name="T8" fmla="*/ 544 w 544"/>
              <a:gd name="T9" fmla="*/ 477 h 636"/>
              <a:gd name="T10" fmla="*/ 272 w 544"/>
              <a:gd name="T11" fmla="*/ 636 h 636"/>
              <a:gd name="T12" fmla="*/ 0 w 544"/>
              <a:gd name="T13" fmla="*/ 477 h 636"/>
            </a:gdLst>
            <a:ahLst/>
            <a:cxnLst>
              <a:cxn ang="0">
                <a:pos x="T0" y="T1"/>
              </a:cxn>
              <a:cxn ang="0">
                <a:pos x="T2" y="T3"/>
              </a:cxn>
              <a:cxn ang="0">
                <a:pos x="T4" y="T5"/>
              </a:cxn>
              <a:cxn ang="0">
                <a:pos x="T6" y="T7"/>
              </a:cxn>
              <a:cxn ang="0">
                <a:pos x="T8" y="T9"/>
              </a:cxn>
              <a:cxn ang="0">
                <a:pos x="T10" y="T11"/>
              </a:cxn>
              <a:cxn ang="0">
                <a:pos x="T12" y="T13"/>
              </a:cxn>
            </a:cxnLst>
            <a:rect l="0" t="0" r="r" b="b"/>
            <a:pathLst>
              <a:path w="544" h="636">
                <a:moveTo>
                  <a:pt x="0" y="477"/>
                </a:moveTo>
                <a:lnTo>
                  <a:pt x="0" y="160"/>
                </a:lnTo>
                <a:lnTo>
                  <a:pt x="272" y="0"/>
                </a:lnTo>
                <a:lnTo>
                  <a:pt x="272" y="319"/>
                </a:lnTo>
                <a:lnTo>
                  <a:pt x="544" y="477"/>
                </a:lnTo>
                <a:lnTo>
                  <a:pt x="272" y="636"/>
                </a:lnTo>
                <a:lnTo>
                  <a:pt x="0" y="477"/>
                </a:lnTo>
                <a:close/>
              </a:path>
            </a:pathLst>
          </a:custGeom>
          <a:gradFill>
            <a:gsLst>
              <a:gs pos="0">
                <a:srgbClr val="FEA646"/>
              </a:gs>
              <a:gs pos="100000">
                <a:srgbClr val="FF9340"/>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8" name="Freeform 22"/>
          <p:cNvSpPr>
            <a:spLocks/>
          </p:cNvSpPr>
          <p:nvPr userDrawn="1"/>
        </p:nvSpPr>
        <p:spPr bwMode="auto">
          <a:xfrm>
            <a:off x="2219713" y="4499891"/>
            <a:ext cx="368161" cy="849188"/>
          </a:xfrm>
          <a:custGeom>
            <a:avLst/>
            <a:gdLst>
              <a:gd name="T0" fmla="*/ 274 w 274"/>
              <a:gd name="T1" fmla="*/ 0 h 632"/>
              <a:gd name="T2" fmla="*/ 274 w 274"/>
              <a:gd name="T3" fmla="*/ 317 h 632"/>
              <a:gd name="T4" fmla="*/ 274 w 274"/>
              <a:gd name="T5" fmla="*/ 632 h 632"/>
              <a:gd name="T6" fmla="*/ 0 w 274"/>
              <a:gd name="T7" fmla="*/ 471 h 632"/>
              <a:gd name="T8" fmla="*/ 0 w 274"/>
              <a:gd name="T9" fmla="*/ 156 h 632"/>
              <a:gd name="T10" fmla="*/ 274 w 274"/>
              <a:gd name="T11" fmla="*/ 0 h 632"/>
            </a:gdLst>
            <a:ahLst/>
            <a:cxnLst>
              <a:cxn ang="0">
                <a:pos x="T0" y="T1"/>
              </a:cxn>
              <a:cxn ang="0">
                <a:pos x="T2" y="T3"/>
              </a:cxn>
              <a:cxn ang="0">
                <a:pos x="T4" y="T5"/>
              </a:cxn>
              <a:cxn ang="0">
                <a:pos x="T6" y="T7"/>
              </a:cxn>
              <a:cxn ang="0">
                <a:pos x="T8" y="T9"/>
              </a:cxn>
              <a:cxn ang="0">
                <a:pos x="T10" y="T11"/>
              </a:cxn>
            </a:cxnLst>
            <a:rect l="0" t="0" r="r" b="b"/>
            <a:pathLst>
              <a:path w="274" h="632">
                <a:moveTo>
                  <a:pt x="274" y="0"/>
                </a:moveTo>
                <a:lnTo>
                  <a:pt x="274" y="317"/>
                </a:lnTo>
                <a:lnTo>
                  <a:pt x="274" y="632"/>
                </a:lnTo>
                <a:lnTo>
                  <a:pt x="0" y="471"/>
                </a:lnTo>
                <a:lnTo>
                  <a:pt x="0" y="156"/>
                </a:lnTo>
                <a:lnTo>
                  <a:pt x="274" y="0"/>
                </a:lnTo>
                <a:close/>
              </a:path>
            </a:pathLst>
          </a:custGeom>
          <a:gradFill>
            <a:gsLst>
              <a:gs pos="0">
                <a:srgbClr val="B85547"/>
              </a:gs>
              <a:gs pos="100000">
                <a:srgbClr val="8A4B5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29" name="Freeform 24"/>
          <p:cNvSpPr>
            <a:spLocks/>
          </p:cNvSpPr>
          <p:nvPr userDrawn="1"/>
        </p:nvSpPr>
        <p:spPr bwMode="auto">
          <a:xfrm>
            <a:off x="368161" y="3645328"/>
            <a:ext cx="368161" cy="425938"/>
          </a:xfrm>
          <a:custGeom>
            <a:avLst/>
            <a:gdLst>
              <a:gd name="T0" fmla="*/ 0 w 274"/>
              <a:gd name="T1" fmla="*/ 317 h 317"/>
              <a:gd name="T2" fmla="*/ 0 w 274"/>
              <a:gd name="T3" fmla="*/ 0 h 317"/>
              <a:gd name="T4" fmla="*/ 274 w 274"/>
              <a:gd name="T5" fmla="*/ 158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8"/>
                </a:lnTo>
                <a:lnTo>
                  <a:pt x="0" y="317"/>
                </a:lnTo>
                <a:close/>
              </a:path>
            </a:pathLst>
          </a:custGeom>
          <a:gradFill>
            <a:gsLst>
              <a:gs pos="0">
                <a:srgbClr val="EE6238"/>
              </a:gs>
              <a:gs pos="100000">
                <a:srgbClr val="DB5E3D"/>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30" name="Freeform 25"/>
          <p:cNvSpPr>
            <a:spLocks/>
          </p:cNvSpPr>
          <p:nvPr userDrawn="1"/>
        </p:nvSpPr>
        <p:spPr bwMode="auto">
          <a:xfrm>
            <a:off x="0" y="4292968"/>
            <a:ext cx="368161" cy="846501"/>
          </a:xfrm>
          <a:custGeom>
            <a:avLst/>
            <a:gdLst>
              <a:gd name="T0" fmla="*/ 0 w 274"/>
              <a:gd name="T1" fmla="*/ 0 h 630"/>
              <a:gd name="T2" fmla="*/ 0 w 274"/>
              <a:gd name="T3" fmla="*/ 315 h 630"/>
              <a:gd name="T4" fmla="*/ 0 w 274"/>
              <a:gd name="T5" fmla="*/ 630 h 630"/>
              <a:gd name="T6" fmla="*/ 274 w 274"/>
              <a:gd name="T7" fmla="*/ 471 h 630"/>
              <a:gd name="T8" fmla="*/ 274 w 274"/>
              <a:gd name="T9" fmla="*/ 157 h 630"/>
              <a:gd name="T10" fmla="*/ 0 w 274"/>
              <a:gd name="T11" fmla="*/ 0 h 630"/>
            </a:gdLst>
            <a:ahLst/>
            <a:cxnLst>
              <a:cxn ang="0">
                <a:pos x="T0" y="T1"/>
              </a:cxn>
              <a:cxn ang="0">
                <a:pos x="T2" y="T3"/>
              </a:cxn>
              <a:cxn ang="0">
                <a:pos x="T4" y="T5"/>
              </a:cxn>
              <a:cxn ang="0">
                <a:pos x="T6" y="T7"/>
              </a:cxn>
              <a:cxn ang="0">
                <a:pos x="T8" y="T9"/>
              </a:cxn>
              <a:cxn ang="0">
                <a:pos x="T10" y="T11"/>
              </a:cxn>
            </a:cxnLst>
            <a:rect l="0" t="0" r="r" b="b"/>
            <a:pathLst>
              <a:path w="274" h="630">
                <a:moveTo>
                  <a:pt x="0" y="0"/>
                </a:moveTo>
                <a:lnTo>
                  <a:pt x="0" y="315"/>
                </a:lnTo>
                <a:lnTo>
                  <a:pt x="0" y="630"/>
                </a:lnTo>
                <a:lnTo>
                  <a:pt x="274" y="471"/>
                </a:lnTo>
                <a:lnTo>
                  <a:pt x="274" y="157"/>
                </a:lnTo>
                <a:lnTo>
                  <a:pt x="0" y="0"/>
                </a:lnTo>
                <a:close/>
              </a:path>
            </a:pathLst>
          </a:custGeom>
          <a:gradFill>
            <a:gsLst>
              <a:gs pos="0">
                <a:srgbClr val="C35844"/>
              </a:gs>
              <a:gs pos="92000">
                <a:srgbClr val="8A4B54"/>
              </a:gs>
            </a:gsLst>
            <a:lin ang="5400000" scaled="1"/>
          </a:gradFill>
          <a:ln>
            <a:noFill/>
          </a:ln>
        </p:spPr>
        <p:txBody>
          <a:bodyPr vert="horz" wrap="square" lIns="91440" tIns="45720" rIns="91440" bIns="45720" numCol="1" anchor="t" anchorCtr="0" compatLnSpc="1">
            <a:prstTxWarp prst="textNoShape">
              <a:avLst/>
            </a:prstTxWarp>
          </a:bodyPr>
          <a:lstStyle/>
          <a:p>
            <a:pPr lvl="0"/>
            <a:endParaRPr lang="en-US">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31" name="Picture Placeholder 13">
            <a:extLst>
              <a:ext uri="{FF2B5EF4-FFF2-40B4-BE49-F238E27FC236}">
                <a16:creationId xmlns:a16="http://schemas.microsoft.com/office/drawing/2014/main" id="{B27FB25A-25C1-1145-91A1-08CB3FC40AE3}"/>
              </a:ext>
            </a:extLst>
          </p:cNvPr>
          <p:cNvSpPr>
            <a:spLocks noGrp="1"/>
          </p:cNvSpPr>
          <p:nvPr>
            <p:ph type="pic" sz="quarter" idx="10"/>
          </p:nvPr>
        </p:nvSpPr>
        <p:spPr>
          <a:xfrm>
            <a:off x="0" y="2"/>
            <a:ext cx="5235878" cy="6857999"/>
          </a:xfrm>
          <a:custGeom>
            <a:avLst/>
            <a:gdLst>
              <a:gd name="connsiteX0" fmla="*/ 750460 w 5235878"/>
              <a:gd name="connsiteY0" fmla="*/ 6019914 h 6857999"/>
              <a:gd name="connsiteX1" fmla="*/ 750460 w 5235878"/>
              <a:gd name="connsiteY1" fmla="*/ 6412896 h 6857999"/>
              <a:gd name="connsiteX2" fmla="*/ 1087656 w 5235878"/>
              <a:gd name="connsiteY2" fmla="*/ 6215785 h 6857999"/>
              <a:gd name="connsiteX3" fmla="*/ 4065891 w 5235878"/>
              <a:gd name="connsiteY3" fmla="*/ 5358483 h 6857999"/>
              <a:gd name="connsiteX4" fmla="*/ 4065891 w 5235878"/>
              <a:gd name="connsiteY4" fmla="*/ 5784421 h 6857999"/>
              <a:gd name="connsiteX5" fmla="*/ 3700419 w 5235878"/>
              <a:gd name="connsiteY5" fmla="*/ 5570780 h 6857999"/>
              <a:gd name="connsiteX6" fmla="*/ 2573632 w 5235878"/>
              <a:gd name="connsiteY6" fmla="*/ 4532742 h 6857999"/>
              <a:gd name="connsiteX7" fmla="*/ 2233956 w 5235878"/>
              <a:gd name="connsiteY7" fmla="*/ 4726134 h 6857999"/>
              <a:gd name="connsiteX8" fmla="*/ 2233956 w 5235878"/>
              <a:gd name="connsiteY8" fmla="*/ 5116636 h 6857999"/>
              <a:gd name="connsiteX9" fmla="*/ 2573632 w 5235878"/>
              <a:gd name="connsiteY9" fmla="*/ 5316226 h 6857999"/>
              <a:gd name="connsiteX10" fmla="*/ 2573632 w 5235878"/>
              <a:gd name="connsiteY10" fmla="*/ 4925724 h 6857999"/>
              <a:gd name="connsiteX11" fmla="*/ 4436740 w 5235878"/>
              <a:gd name="connsiteY11" fmla="*/ 3431686 h 6857999"/>
              <a:gd name="connsiteX12" fmla="*/ 4802213 w 5235878"/>
              <a:gd name="connsiteY12" fmla="*/ 3645327 h 6857999"/>
              <a:gd name="connsiteX13" fmla="*/ 4436740 w 5235878"/>
              <a:gd name="connsiteY13" fmla="*/ 3857624 h 6857999"/>
              <a:gd name="connsiteX14" fmla="*/ 4068579 w 5235878"/>
              <a:gd name="connsiteY14" fmla="*/ 3645327 h 6857999"/>
              <a:gd name="connsiteX15" fmla="*/ 3346500 w 5235878"/>
              <a:gd name="connsiteY15" fmla="*/ 2809931 h 6857999"/>
              <a:gd name="connsiteX16" fmla="*/ 3346500 w 5235878"/>
              <a:gd name="connsiteY16" fmla="*/ 3202913 h 6857999"/>
              <a:gd name="connsiteX17" fmla="*/ 3686176 w 5235878"/>
              <a:gd name="connsiteY17" fmla="*/ 3007041 h 6857999"/>
              <a:gd name="connsiteX18" fmla="*/ 1465119 w 5235878"/>
              <a:gd name="connsiteY18" fmla="*/ 1729739 h 6857999"/>
              <a:gd name="connsiteX19" fmla="*/ 1125444 w 5235878"/>
              <a:gd name="connsiteY19" fmla="*/ 1925609 h 6857999"/>
              <a:gd name="connsiteX20" fmla="*/ 1465119 w 5235878"/>
              <a:gd name="connsiteY20" fmla="*/ 2125199 h 6857999"/>
              <a:gd name="connsiteX21" fmla="*/ 1125444 w 5235878"/>
              <a:gd name="connsiteY21" fmla="*/ 1087369 h 6857999"/>
              <a:gd name="connsiteX22" fmla="*/ 1125444 w 5235878"/>
              <a:gd name="connsiteY22" fmla="*/ 1480351 h 6857999"/>
              <a:gd name="connsiteX23" fmla="*/ 1465120 w 5235878"/>
              <a:gd name="connsiteY23" fmla="*/ 1284480 h 6857999"/>
              <a:gd name="connsiteX24" fmla="*/ 3703106 w 5235878"/>
              <a:gd name="connsiteY24" fmla="*/ 891654 h 6857999"/>
              <a:gd name="connsiteX25" fmla="*/ 3365910 w 5235878"/>
              <a:gd name="connsiteY25" fmla="*/ 1090004 h 6857999"/>
              <a:gd name="connsiteX26" fmla="*/ 3365910 w 5235878"/>
              <a:gd name="connsiteY26" fmla="*/ 1482986 h 6857999"/>
              <a:gd name="connsiteX27" fmla="*/ 3703106 w 5235878"/>
              <a:gd name="connsiteY27" fmla="*/ 1680096 h 6857999"/>
              <a:gd name="connsiteX28" fmla="*/ 4040302 w 5235878"/>
              <a:gd name="connsiteY28" fmla="*/ 1482986 h 6857999"/>
              <a:gd name="connsiteX29" fmla="*/ 3703106 w 5235878"/>
              <a:gd name="connsiteY29" fmla="*/ 1287115 h 6857999"/>
              <a:gd name="connsiteX30" fmla="*/ 736322 w 5235878"/>
              <a:gd name="connsiteY30" fmla="*/ 445102 h 6857999"/>
              <a:gd name="connsiteX31" fmla="*/ 399126 w 5235878"/>
              <a:gd name="connsiteY31" fmla="*/ 642213 h 6857999"/>
              <a:gd name="connsiteX32" fmla="*/ 736322 w 5235878"/>
              <a:gd name="connsiteY32" fmla="*/ 838084 h 6857999"/>
              <a:gd name="connsiteX33" fmla="*/ 1073518 w 5235878"/>
              <a:gd name="connsiteY33" fmla="*/ 642213 h 6857999"/>
              <a:gd name="connsiteX34" fmla="*/ 4434052 w 5235878"/>
              <a:gd name="connsiteY34" fmla="*/ 428625 h 6857999"/>
              <a:gd name="connsiteX35" fmla="*/ 4434052 w 5235878"/>
              <a:gd name="connsiteY35" fmla="*/ 858594 h 6857999"/>
              <a:gd name="connsiteX36" fmla="*/ 4068580 w 5235878"/>
              <a:gd name="connsiteY36" fmla="*/ 642266 h 6857999"/>
              <a:gd name="connsiteX37" fmla="*/ 370849 w 5235878"/>
              <a:gd name="connsiteY37" fmla="*/ 0 h 6857999"/>
              <a:gd name="connsiteX38" fmla="*/ 3321508 w 5235878"/>
              <a:gd name="connsiteY38" fmla="*/ 0 h 6857999"/>
              <a:gd name="connsiteX39" fmla="*/ 3321508 w 5235878"/>
              <a:gd name="connsiteY39" fmla="*/ 216327 h 6857999"/>
              <a:gd name="connsiteX40" fmla="*/ 3696387 w 5235878"/>
              <a:gd name="connsiteY40" fmla="*/ 428624 h 6857999"/>
              <a:gd name="connsiteX41" fmla="*/ 3696387 w 5235878"/>
              <a:gd name="connsiteY41" fmla="*/ 854562 h 6857999"/>
              <a:gd name="connsiteX42" fmla="*/ 4065891 w 5235878"/>
              <a:gd name="connsiteY42" fmla="*/ 1073577 h 6857999"/>
              <a:gd name="connsiteX43" fmla="*/ 4065891 w 5235878"/>
              <a:gd name="connsiteY43" fmla="*/ 3642639 h 6857999"/>
              <a:gd name="connsiteX44" fmla="*/ 3693700 w 5235878"/>
              <a:gd name="connsiteY44" fmla="*/ 3857623 h 6857999"/>
              <a:gd name="connsiteX45" fmla="*/ 3693700 w 5235878"/>
              <a:gd name="connsiteY45" fmla="*/ 4283561 h 6857999"/>
              <a:gd name="connsiteX46" fmla="*/ 3325539 w 5235878"/>
              <a:gd name="connsiteY46" fmla="*/ 4499889 h 6857999"/>
              <a:gd name="connsiteX47" fmla="*/ 3325539 w 5235878"/>
              <a:gd name="connsiteY47" fmla="*/ 5354452 h 6857999"/>
              <a:gd name="connsiteX48" fmla="*/ 2957377 w 5235878"/>
              <a:gd name="connsiteY48" fmla="*/ 5570780 h 6857999"/>
              <a:gd name="connsiteX49" fmla="*/ 2957377 w 5235878"/>
              <a:gd name="connsiteY49" fmla="*/ 6852624 h 6857999"/>
              <a:gd name="connsiteX50" fmla="*/ 2957377 w 5235878"/>
              <a:gd name="connsiteY50" fmla="*/ 6857998 h 6857999"/>
              <a:gd name="connsiteX51" fmla="*/ 2960065 w 5235878"/>
              <a:gd name="connsiteY51" fmla="*/ 6857998 h 6857999"/>
              <a:gd name="connsiteX52" fmla="*/ 5235878 w 5235878"/>
              <a:gd name="connsiteY52" fmla="*/ 6857998 h 6857999"/>
              <a:gd name="connsiteX53" fmla="*/ 5235878 w 5235878"/>
              <a:gd name="connsiteY53" fmla="*/ 6857999 h 6857999"/>
              <a:gd name="connsiteX54" fmla="*/ 0 w 5235878"/>
              <a:gd name="connsiteY54" fmla="*/ 6857999 h 6857999"/>
              <a:gd name="connsiteX55" fmla="*/ 0 w 5235878"/>
              <a:gd name="connsiteY55" fmla="*/ 6857998 h 6857999"/>
              <a:gd name="connsiteX56" fmla="*/ 368162 w 5235878"/>
              <a:gd name="connsiteY56" fmla="*/ 6857998 h 6857999"/>
              <a:gd name="connsiteX57" fmla="*/ 368162 w 5235878"/>
              <a:gd name="connsiteY57" fmla="*/ 5787108 h 6857999"/>
              <a:gd name="connsiteX58" fmla="*/ 736323 w 5235878"/>
              <a:gd name="connsiteY58" fmla="*/ 5574811 h 6857999"/>
              <a:gd name="connsiteX59" fmla="*/ 736323 w 5235878"/>
              <a:gd name="connsiteY59" fmla="*/ 3431686 h 6857999"/>
              <a:gd name="connsiteX60" fmla="*/ 368162 w 5235878"/>
              <a:gd name="connsiteY60" fmla="*/ 3212670 h 6857999"/>
              <a:gd name="connsiteX61" fmla="*/ 368162 w 5235878"/>
              <a:gd name="connsiteY61" fmla="*/ 2358109 h 6857999"/>
              <a:gd name="connsiteX62" fmla="*/ 739009 w 5235878"/>
              <a:gd name="connsiteY62" fmla="*/ 2145813 h 6857999"/>
              <a:gd name="connsiteX63" fmla="*/ 739009 w 5235878"/>
              <a:gd name="connsiteY63" fmla="*/ 1713156 h 6857999"/>
              <a:gd name="connsiteX64" fmla="*/ 368162 w 5235878"/>
              <a:gd name="connsiteY64" fmla="*/ 1499515 h 6857999"/>
              <a:gd name="connsiteX65" fmla="*/ 370849 w 5235878"/>
              <a:gd name="connsiteY65" fmla="*/ 1068203 h 6857999"/>
              <a:gd name="connsiteX66" fmla="*/ 0 w 5235878"/>
              <a:gd name="connsiteY66" fmla="*/ 854562 h 6857999"/>
              <a:gd name="connsiteX67" fmla="*/ 0 w 5235878"/>
              <a:gd name="connsiteY67" fmla="*/ 428624 h 6857999"/>
              <a:gd name="connsiteX68" fmla="*/ 370849 w 5235878"/>
              <a:gd name="connsiteY68" fmla="*/ 216327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235878" h="6857999">
                <a:moveTo>
                  <a:pt x="750460" y="6019914"/>
                </a:moveTo>
                <a:lnTo>
                  <a:pt x="750460" y="6412896"/>
                </a:lnTo>
                <a:lnTo>
                  <a:pt x="1087656" y="6215785"/>
                </a:lnTo>
                <a:close/>
                <a:moveTo>
                  <a:pt x="4065891" y="5358483"/>
                </a:moveTo>
                <a:lnTo>
                  <a:pt x="4065891" y="5784421"/>
                </a:lnTo>
                <a:lnTo>
                  <a:pt x="3700419" y="5570780"/>
                </a:lnTo>
                <a:close/>
                <a:moveTo>
                  <a:pt x="2573632" y="4532742"/>
                </a:moveTo>
                <a:lnTo>
                  <a:pt x="2233956" y="4726134"/>
                </a:lnTo>
                <a:lnTo>
                  <a:pt x="2233956" y="5116636"/>
                </a:lnTo>
                <a:lnTo>
                  <a:pt x="2573632" y="5316226"/>
                </a:lnTo>
                <a:lnTo>
                  <a:pt x="2573632" y="4925724"/>
                </a:lnTo>
                <a:close/>
                <a:moveTo>
                  <a:pt x="4436740" y="3431686"/>
                </a:moveTo>
                <a:lnTo>
                  <a:pt x="4802213" y="3645327"/>
                </a:lnTo>
                <a:lnTo>
                  <a:pt x="4436740" y="3857624"/>
                </a:lnTo>
                <a:lnTo>
                  <a:pt x="4068579" y="3645327"/>
                </a:lnTo>
                <a:close/>
                <a:moveTo>
                  <a:pt x="3346500" y="2809931"/>
                </a:moveTo>
                <a:lnTo>
                  <a:pt x="3346500" y="3202913"/>
                </a:lnTo>
                <a:lnTo>
                  <a:pt x="3686176" y="3007041"/>
                </a:lnTo>
                <a:close/>
                <a:moveTo>
                  <a:pt x="1465119" y="1729739"/>
                </a:moveTo>
                <a:lnTo>
                  <a:pt x="1125444" y="1925609"/>
                </a:lnTo>
                <a:lnTo>
                  <a:pt x="1465119" y="2125199"/>
                </a:lnTo>
                <a:close/>
                <a:moveTo>
                  <a:pt x="1125444" y="1087369"/>
                </a:moveTo>
                <a:lnTo>
                  <a:pt x="1125444" y="1480351"/>
                </a:lnTo>
                <a:lnTo>
                  <a:pt x="1465120" y="1284480"/>
                </a:lnTo>
                <a:close/>
                <a:moveTo>
                  <a:pt x="3703106" y="891654"/>
                </a:moveTo>
                <a:lnTo>
                  <a:pt x="3365910" y="1090004"/>
                </a:lnTo>
                <a:lnTo>
                  <a:pt x="3365910" y="1482986"/>
                </a:lnTo>
                <a:lnTo>
                  <a:pt x="3703106" y="1680096"/>
                </a:lnTo>
                <a:lnTo>
                  <a:pt x="4040302" y="1482986"/>
                </a:lnTo>
                <a:lnTo>
                  <a:pt x="3703106" y="1287115"/>
                </a:lnTo>
                <a:close/>
                <a:moveTo>
                  <a:pt x="736322" y="445102"/>
                </a:moveTo>
                <a:lnTo>
                  <a:pt x="399126" y="642213"/>
                </a:lnTo>
                <a:lnTo>
                  <a:pt x="736322" y="838084"/>
                </a:lnTo>
                <a:lnTo>
                  <a:pt x="1073518" y="642213"/>
                </a:lnTo>
                <a:close/>
                <a:moveTo>
                  <a:pt x="4434052" y="428625"/>
                </a:moveTo>
                <a:lnTo>
                  <a:pt x="4434052" y="858594"/>
                </a:lnTo>
                <a:lnTo>
                  <a:pt x="4068580" y="642266"/>
                </a:lnTo>
                <a:close/>
                <a:moveTo>
                  <a:pt x="370849" y="0"/>
                </a:moveTo>
                <a:lnTo>
                  <a:pt x="3321508" y="0"/>
                </a:lnTo>
                <a:lnTo>
                  <a:pt x="3321508" y="216327"/>
                </a:lnTo>
                <a:lnTo>
                  <a:pt x="3696387" y="428624"/>
                </a:lnTo>
                <a:lnTo>
                  <a:pt x="3696387" y="854562"/>
                </a:lnTo>
                <a:lnTo>
                  <a:pt x="4065891" y="1073577"/>
                </a:lnTo>
                <a:lnTo>
                  <a:pt x="4065891" y="3642639"/>
                </a:lnTo>
                <a:lnTo>
                  <a:pt x="3693700" y="3857623"/>
                </a:lnTo>
                <a:lnTo>
                  <a:pt x="3693700" y="4283561"/>
                </a:lnTo>
                <a:lnTo>
                  <a:pt x="3325539" y="4499889"/>
                </a:lnTo>
                <a:lnTo>
                  <a:pt x="3325539" y="5354452"/>
                </a:lnTo>
                <a:lnTo>
                  <a:pt x="2957377" y="5570780"/>
                </a:lnTo>
                <a:lnTo>
                  <a:pt x="2957377" y="6852624"/>
                </a:lnTo>
                <a:lnTo>
                  <a:pt x="2957377" y="6857998"/>
                </a:lnTo>
                <a:lnTo>
                  <a:pt x="2960065" y="6857998"/>
                </a:lnTo>
                <a:lnTo>
                  <a:pt x="5235878" y="6857998"/>
                </a:lnTo>
                <a:lnTo>
                  <a:pt x="5235878" y="6857999"/>
                </a:lnTo>
                <a:lnTo>
                  <a:pt x="0" y="6857999"/>
                </a:lnTo>
                <a:lnTo>
                  <a:pt x="0" y="6857998"/>
                </a:lnTo>
                <a:lnTo>
                  <a:pt x="368162" y="6857998"/>
                </a:lnTo>
                <a:lnTo>
                  <a:pt x="368162" y="5787108"/>
                </a:lnTo>
                <a:lnTo>
                  <a:pt x="736323" y="5574811"/>
                </a:lnTo>
                <a:lnTo>
                  <a:pt x="736323" y="3431686"/>
                </a:lnTo>
                <a:lnTo>
                  <a:pt x="368162" y="3212670"/>
                </a:lnTo>
                <a:lnTo>
                  <a:pt x="368162" y="2358109"/>
                </a:lnTo>
                <a:lnTo>
                  <a:pt x="739009" y="2145813"/>
                </a:lnTo>
                <a:lnTo>
                  <a:pt x="739009" y="1713156"/>
                </a:lnTo>
                <a:lnTo>
                  <a:pt x="368162" y="1499515"/>
                </a:lnTo>
                <a:lnTo>
                  <a:pt x="370849" y="1068203"/>
                </a:lnTo>
                <a:lnTo>
                  <a:pt x="0" y="854562"/>
                </a:lnTo>
                <a:lnTo>
                  <a:pt x="0" y="428624"/>
                </a:lnTo>
                <a:lnTo>
                  <a:pt x="370849" y="216327"/>
                </a:lnTo>
                <a:close/>
              </a:path>
            </a:pathLst>
          </a:custGeom>
        </p:spPr>
        <p:txBody>
          <a:bodyPr wrap="square">
            <a:noAutofit/>
          </a:bodyPr>
          <a:lstStyle>
            <a:lvl1pPr marL="0" indent="0">
              <a:buNone/>
              <a:defRPr sz="1200">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r>
              <a:rPr lang="en-US"/>
              <a:t>Click icon to add picture</a:t>
            </a:r>
            <a:endParaRPr lang="ar-SA"/>
          </a:p>
        </p:txBody>
      </p:sp>
      <p:sp>
        <p:nvSpPr>
          <p:cNvPr id="18" name="Title 1">
            <a:extLst>
              <a:ext uri="{FF2B5EF4-FFF2-40B4-BE49-F238E27FC236}">
                <a16:creationId xmlns:a16="http://schemas.microsoft.com/office/drawing/2014/main" id="{31BBA778-64E4-9C4C-8806-1A8C377A972B}"/>
              </a:ext>
            </a:extLst>
          </p:cNvPr>
          <p:cNvSpPr>
            <a:spLocks noGrp="1"/>
          </p:cNvSpPr>
          <p:nvPr>
            <p:ph type="title" hasCustomPrompt="1"/>
          </p:nvPr>
        </p:nvSpPr>
        <p:spPr>
          <a:xfrm>
            <a:off x="6497354" y="1496859"/>
            <a:ext cx="3796431" cy="2674307"/>
          </a:xfrm>
        </p:spPr>
        <p:txBody>
          <a:bodyPr lIns="0" tIns="0" rIns="0" bIns="0" anchor="b">
            <a:noAutofit/>
          </a:bodyPr>
          <a:lstStyle>
            <a:lvl1pPr>
              <a:defRPr sz="2800" b="0">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Divider title goes here</a:t>
            </a:r>
            <a:endParaRPr lang="ar-SA"/>
          </a:p>
        </p:txBody>
      </p:sp>
      <p:sp>
        <p:nvSpPr>
          <p:cNvPr id="20" name="Text Placeholder 2">
            <a:extLst>
              <a:ext uri="{FF2B5EF4-FFF2-40B4-BE49-F238E27FC236}">
                <a16:creationId xmlns:a16="http://schemas.microsoft.com/office/drawing/2014/main" id="{F91C9796-CB07-194B-B62D-8AC12B657E13}"/>
              </a:ext>
            </a:extLst>
          </p:cNvPr>
          <p:cNvSpPr>
            <a:spLocks noGrp="1"/>
          </p:cNvSpPr>
          <p:nvPr>
            <p:ph type="body" idx="1" hasCustomPrompt="1"/>
          </p:nvPr>
        </p:nvSpPr>
        <p:spPr>
          <a:xfrm>
            <a:off x="6497354" y="4280981"/>
            <a:ext cx="1679013" cy="1688273"/>
          </a:xfrm>
        </p:spPr>
        <p:txBody>
          <a:bodyPr lIns="0" tIns="0" rIns="0" bIns="0">
            <a:noAutofit/>
          </a:bodyPr>
          <a:lstStyle>
            <a:lvl1pPr marL="0" indent="0">
              <a:buNone/>
              <a:defRPr sz="1200">
                <a:solidFill>
                  <a:srgbClr val="8D8FA4"/>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
        <p:nvSpPr>
          <p:cNvPr id="22" name="Text Placeholder 2">
            <a:extLst>
              <a:ext uri="{FF2B5EF4-FFF2-40B4-BE49-F238E27FC236}">
                <a16:creationId xmlns:a16="http://schemas.microsoft.com/office/drawing/2014/main" id="{7940D795-3B71-D04C-A435-56E00A183FAE}"/>
              </a:ext>
            </a:extLst>
          </p:cNvPr>
          <p:cNvSpPr>
            <a:spLocks noGrp="1"/>
          </p:cNvSpPr>
          <p:nvPr>
            <p:ph type="body" idx="11" hasCustomPrompt="1"/>
          </p:nvPr>
        </p:nvSpPr>
        <p:spPr>
          <a:xfrm>
            <a:off x="8614772" y="4280981"/>
            <a:ext cx="1679013" cy="1688273"/>
          </a:xfrm>
        </p:spPr>
        <p:txBody>
          <a:bodyPr lIns="0" tIns="0" rIns="0" bIns="0">
            <a:noAutofit/>
          </a:bodyPr>
          <a:lstStyle>
            <a:lvl1pPr marL="0" indent="0">
              <a:buNone/>
              <a:defRPr sz="1200">
                <a:solidFill>
                  <a:srgbClr val="8D8FA4"/>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Tree>
    <p:extLst>
      <p:ext uri="{BB962C8B-B14F-4D97-AF65-F5344CB8AC3E}">
        <p14:creationId xmlns:p14="http://schemas.microsoft.com/office/powerpoint/2010/main" val="85869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8603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0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09A520-7CEC-426E-B2CA-4F5F2C211A2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bwMode="blackWhite">
          <a:xfrm>
            <a:off x="695325" y="3826800"/>
            <a:ext cx="10764836" cy="2041200"/>
          </a:xfrm>
        </p:spPr>
        <p:txBody>
          <a:bodyPr anchor="t">
            <a:noAutofit/>
          </a:bodyPr>
          <a:lstStyle>
            <a:lvl1pPr>
              <a:defRPr sz="5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95325" y="3680016"/>
            <a:ext cx="1149326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70A1375A-DCBE-477B-889E-0977C65F1BB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2949674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3310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12507-129C-4183-8806-06ACE8BDAEC3}"/>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rgbClr val="273370">
                  <a:lumMod val="100000"/>
                </a:srgbClr>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9" name="Footer Placeholder 4">
            <a:extLst>
              <a:ext uri="{FF2B5EF4-FFF2-40B4-BE49-F238E27FC236}">
                <a16:creationId xmlns:a16="http://schemas.microsoft.com/office/drawing/2014/main" id="{32062484-948A-4BC3-865B-7BEABC001836}"/>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4281018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3319795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8"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7BAC85-A7A7-4960-97E0-1917DD42A2F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3"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endParaRPr lang="ar-SA"/>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grpSp>
        <p:nvGrpSpPr>
          <p:cNvPr id="66" name="Group 65"/>
          <p:cNvGrpSpPr/>
          <p:nvPr userDrawn="1"/>
        </p:nvGrpSpPr>
        <p:grpSpPr>
          <a:xfrm>
            <a:off x="397420" y="550751"/>
            <a:ext cx="462459" cy="576905"/>
            <a:chOff x="324330" y="590555"/>
            <a:chExt cx="608641" cy="759263"/>
          </a:xfrm>
        </p:grpSpPr>
        <p:sp>
          <p:nvSpPr>
            <p:cNvPr id="67" name="Parallelogram 66"/>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68" name="Rectangle 67"/>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DIN Next LT Arabic" panose="020B0503020203050203" pitchFamily="34" charset="-78"/>
                <a:cs typeface="DIN Next LT Arabic" panose="020B0503020203050203" pitchFamily="34" charset="-78"/>
                <a:sym typeface="Arial" panose="020B0604020202020204" pitchFamily="34" charset="0"/>
              </a:endParaRPr>
            </a:p>
          </p:txBody>
        </p:sp>
      </p:grpSp>
      <p:sp>
        <p:nvSpPr>
          <p:cNvPr id="11" name="Footer Placeholder 4">
            <a:extLst>
              <a:ext uri="{FF2B5EF4-FFF2-40B4-BE49-F238E27FC236}">
                <a16:creationId xmlns:a16="http://schemas.microsoft.com/office/drawing/2014/main" id="{E4445429-B723-42A9-B1C4-5E530DDA9A3B}"/>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panose="020B0503020203050203" pitchFamily="34" charset="-78"/>
                <a:cs typeface="DIN Next LT Arabic" panose="020B0503020203050203" pitchFamily="34" charset="-78"/>
              </a:defRPr>
            </a:lvl1pPr>
          </a:lstStyle>
          <a:p>
            <a:r>
              <a:rPr lang="en-US"/>
              <a:t>NCAI | Activation Programme</a:t>
            </a:r>
          </a:p>
        </p:txBody>
      </p:sp>
      <p:sp>
        <p:nvSpPr>
          <p:cNvPr id="15" name="Text Placeholder 3">
            <a:extLst>
              <a:ext uri="{FF2B5EF4-FFF2-40B4-BE49-F238E27FC236}">
                <a16:creationId xmlns:a16="http://schemas.microsoft.com/office/drawing/2014/main" id="{8E7414D5-490B-4BB7-8FC7-26F1A91E306B}"/>
              </a:ext>
            </a:extLst>
          </p:cNvPr>
          <p:cNvSpPr>
            <a:spLocks noGrp="1"/>
          </p:cNvSpPr>
          <p:nvPr>
            <p:ph idx="1" hasCustomPrompt="1"/>
          </p:nvPr>
        </p:nvSpPr>
        <p:spPr>
          <a:xfrm>
            <a:off x="695325" y="1959430"/>
            <a:ext cx="10764836" cy="3978184"/>
          </a:xfrm>
          <a:prstGeom prst="rect">
            <a:avLst/>
          </a:prstGeom>
        </p:spPr>
        <p:txBody>
          <a:bodyPr vert="horz" lIns="0" tIns="0" rIns="0" bIns="0" rtlCol="0">
            <a:noAutofit/>
          </a:bodyPr>
          <a:lstStyle>
            <a:lvl1pPr>
              <a:defRPr sz="1400">
                <a:latin typeface="DIN Next LT Arabic" panose="020B0503020203050203" pitchFamily="34" charset="-78"/>
                <a:ea typeface="+mn-ea"/>
                <a:cs typeface="DIN Next LT Arabic" panose="020B0503020203050203" pitchFamily="34" charset="-78"/>
                <a:sym typeface="Arial" panose="020B0604020202020204" pitchFamily="34" charset="0"/>
              </a:defRPr>
            </a:lvl1pPr>
            <a:lvl2pPr>
              <a:defRPr sz="1400">
                <a:latin typeface="+mn-lt"/>
                <a:ea typeface="+mn-ea"/>
                <a:cs typeface="+mn-cs"/>
                <a:sym typeface="+mn-lt"/>
              </a:defRPr>
            </a:lvl2pPr>
            <a:lvl3pPr>
              <a:defRPr sz="1400">
                <a:latin typeface="+mn-lt"/>
                <a:ea typeface="+mn-ea"/>
                <a:cs typeface="+mn-cs"/>
                <a:sym typeface="+mn-lt"/>
              </a:defRPr>
            </a:lvl3pPr>
          </a:lstStyle>
          <a:p>
            <a:pPr lvl="0"/>
            <a:r>
              <a:rPr lang="en-US"/>
              <a:t>Edit Master text styles</a:t>
            </a:r>
          </a:p>
        </p:txBody>
      </p:sp>
    </p:spTree>
    <p:extLst>
      <p:ext uri="{BB962C8B-B14F-4D97-AF65-F5344CB8AC3E}">
        <p14:creationId xmlns:p14="http://schemas.microsoft.com/office/powerpoint/2010/main" val="1033078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2399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7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3058E2-654C-4943-A842-B045826FB62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9" name="Title 1"/>
          <p:cNvSpPr>
            <a:spLocks noGrp="1"/>
          </p:cNvSpPr>
          <p:nvPr>
            <p:ph type="title" hasCustomPrompt="1"/>
          </p:nvPr>
        </p:nvSpPr>
        <p:spPr bwMode="ltGray">
          <a:xfrm>
            <a:off x="695325" y="1544274"/>
            <a:ext cx="3452400" cy="1495794"/>
          </a:xfrm>
          <a:noFill/>
        </p:spPr>
        <p:txBody>
          <a:bodyPr wrap="square" lIns="0" tIns="0" rIns="320040" bIns="0" anchor="b">
            <a:noAutofit/>
          </a:bodyPr>
          <a:lstStyle>
            <a:lvl1pPr>
              <a:defRPr sz="3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433431CA-EF7D-4BD3-9189-190FAA23A614}"/>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2945792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15453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6"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9"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796A6AAC-4F51-45EA-8027-FBF6CD717D38}"/>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5264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with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816115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6"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985D392-8695-4E80-ACA0-E9368BC8B06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reeform 9"/>
          <p:cNvSpPr>
            <a:spLocks/>
          </p:cNvSpPr>
          <p:nvPr userDrawn="1"/>
        </p:nvSpPr>
        <p:spPr bwMode="auto">
          <a:xfrm>
            <a:off x="-1" y="-1"/>
            <a:ext cx="12197674" cy="6858000"/>
          </a:xfrm>
          <a:custGeom>
            <a:avLst/>
            <a:gdLst>
              <a:gd name="connsiteX0" fmla="*/ 4065892 w 12197674"/>
              <a:gd name="connsiteY0" fmla="*/ 5358485 h 6858000"/>
              <a:gd name="connsiteX1" fmla="*/ 3700420 w 12197674"/>
              <a:gd name="connsiteY1" fmla="*/ 5570782 h 6858000"/>
              <a:gd name="connsiteX2" fmla="*/ 4065892 w 12197674"/>
              <a:gd name="connsiteY2" fmla="*/ 5784423 h 6858000"/>
              <a:gd name="connsiteX3" fmla="*/ 4436741 w 12197674"/>
              <a:gd name="connsiteY3" fmla="*/ 3431688 h 6858000"/>
              <a:gd name="connsiteX4" fmla="*/ 4068580 w 12197674"/>
              <a:gd name="connsiteY4" fmla="*/ 3645329 h 6858000"/>
              <a:gd name="connsiteX5" fmla="*/ 4436741 w 12197674"/>
              <a:gd name="connsiteY5" fmla="*/ 3857626 h 6858000"/>
              <a:gd name="connsiteX6" fmla="*/ 4802214 w 12197674"/>
              <a:gd name="connsiteY6" fmla="*/ 3645329 h 6858000"/>
              <a:gd name="connsiteX7" fmla="*/ 0 w 12197674"/>
              <a:gd name="connsiteY7" fmla="*/ 854563 h 6858000"/>
              <a:gd name="connsiteX8" fmla="*/ 370849 w 12197674"/>
              <a:gd name="connsiteY8" fmla="*/ 1068204 h 6858000"/>
              <a:gd name="connsiteX9" fmla="*/ 368162 w 12197674"/>
              <a:gd name="connsiteY9" fmla="*/ 1499516 h 6858000"/>
              <a:gd name="connsiteX10" fmla="*/ 739010 w 12197674"/>
              <a:gd name="connsiteY10" fmla="*/ 1713157 h 6858000"/>
              <a:gd name="connsiteX11" fmla="*/ 739010 w 12197674"/>
              <a:gd name="connsiteY11" fmla="*/ 2145814 h 6858000"/>
              <a:gd name="connsiteX12" fmla="*/ 368162 w 12197674"/>
              <a:gd name="connsiteY12" fmla="*/ 2358110 h 6858000"/>
              <a:gd name="connsiteX13" fmla="*/ 368162 w 12197674"/>
              <a:gd name="connsiteY13" fmla="*/ 3212672 h 6858000"/>
              <a:gd name="connsiteX14" fmla="*/ 736323 w 12197674"/>
              <a:gd name="connsiteY14" fmla="*/ 3431688 h 6858000"/>
              <a:gd name="connsiteX15" fmla="*/ 736323 w 12197674"/>
              <a:gd name="connsiteY15" fmla="*/ 5574813 h 6858000"/>
              <a:gd name="connsiteX16" fmla="*/ 368162 w 12197674"/>
              <a:gd name="connsiteY16" fmla="*/ 5787110 h 6858000"/>
              <a:gd name="connsiteX17" fmla="*/ 368162 w 12197674"/>
              <a:gd name="connsiteY17" fmla="*/ 6858000 h 6858000"/>
              <a:gd name="connsiteX18" fmla="*/ 0 w 12197674"/>
              <a:gd name="connsiteY18" fmla="*/ 6858000 h 6858000"/>
              <a:gd name="connsiteX19" fmla="*/ 4434053 w 12197674"/>
              <a:gd name="connsiteY19" fmla="*/ 428626 h 6858000"/>
              <a:gd name="connsiteX20" fmla="*/ 4068581 w 12197674"/>
              <a:gd name="connsiteY20" fmla="*/ 642267 h 6858000"/>
              <a:gd name="connsiteX21" fmla="*/ 4434053 w 12197674"/>
              <a:gd name="connsiteY21" fmla="*/ 858595 h 6858000"/>
              <a:gd name="connsiteX22" fmla="*/ 3321509 w 12197674"/>
              <a:gd name="connsiteY22" fmla="*/ 0 h 6858000"/>
              <a:gd name="connsiteX23" fmla="*/ 12197674 w 12197674"/>
              <a:gd name="connsiteY23" fmla="*/ 0 h 6858000"/>
              <a:gd name="connsiteX24" fmla="*/ 12197674 w 12197674"/>
              <a:gd name="connsiteY24" fmla="*/ 6858000 h 6858000"/>
              <a:gd name="connsiteX25" fmla="*/ 2960066 w 12197674"/>
              <a:gd name="connsiteY25" fmla="*/ 6858000 h 6858000"/>
              <a:gd name="connsiteX26" fmla="*/ 2957378 w 12197674"/>
              <a:gd name="connsiteY26" fmla="*/ 6858000 h 6858000"/>
              <a:gd name="connsiteX27" fmla="*/ 2957378 w 12197674"/>
              <a:gd name="connsiteY27" fmla="*/ 6852626 h 6858000"/>
              <a:gd name="connsiteX28" fmla="*/ 2957378 w 12197674"/>
              <a:gd name="connsiteY28" fmla="*/ 5570782 h 6858000"/>
              <a:gd name="connsiteX29" fmla="*/ 3325540 w 12197674"/>
              <a:gd name="connsiteY29" fmla="*/ 5354454 h 6858000"/>
              <a:gd name="connsiteX30" fmla="*/ 3325540 w 12197674"/>
              <a:gd name="connsiteY30" fmla="*/ 4499891 h 6858000"/>
              <a:gd name="connsiteX31" fmla="*/ 3693701 w 12197674"/>
              <a:gd name="connsiteY31" fmla="*/ 4283563 h 6858000"/>
              <a:gd name="connsiteX32" fmla="*/ 3693701 w 12197674"/>
              <a:gd name="connsiteY32" fmla="*/ 3857625 h 6858000"/>
              <a:gd name="connsiteX33" fmla="*/ 4065892 w 12197674"/>
              <a:gd name="connsiteY33" fmla="*/ 3642641 h 6858000"/>
              <a:gd name="connsiteX34" fmla="*/ 4065892 w 12197674"/>
              <a:gd name="connsiteY34" fmla="*/ 1073578 h 6858000"/>
              <a:gd name="connsiteX35" fmla="*/ 3696388 w 12197674"/>
              <a:gd name="connsiteY35" fmla="*/ 854563 h 6858000"/>
              <a:gd name="connsiteX36" fmla="*/ 3696388 w 12197674"/>
              <a:gd name="connsiteY36" fmla="*/ 428625 h 6858000"/>
              <a:gd name="connsiteX37" fmla="*/ 3321509 w 12197674"/>
              <a:gd name="connsiteY37" fmla="*/ 216328 h 6858000"/>
              <a:gd name="connsiteX38" fmla="*/ 0 w 12197674"/>
              <a:gd name="connsiteY38" fmla="*/ 0 h 6858000"/>
              <a:gd name="connsiteX39" fmla="*/ 370849 w 12197674"/>
              <a:gd name="connsiteY39" fmla="*/ 0 h 6858000"/>
              <a:gd name="connsiteX40" fmla="*/ 370849 w 12197674"/>
              <a:gd name="connsiteY40" fmla="*/ 216328 h 6858000"/>
              <a:gd name="connsiteX41" fmla="*/ 0 w 12197674"/>
              <a:gd name="connsiteY41" fmla="*/ 4286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7674" h="6858000">
                <a:moveTo>
                  <a:pt x="4065892" y="5358485"/>
                </a:moveTo>
                <a:lnTo>
                  <a:pt x="3700420" y="5570782"/>
                </a:lnTo>
                <a:lnTo>
                  <a:pt x="4065892" y="5784423"/>
                </a:lnTo>
                <a:close/>
                <a:moveTo>
                  <a:pt x="4436741" y="3431688"/>
                </a:moveTo>
                <a:lnTo>
                  <a:pt x="4068580" y="3645329"/>
                </a:lnTo>
                <a:lnTo>
                  <a:pt x="4436741" y="3857626"/>
                </a:lnTo>
                <a:lnTo>
                  <a:pt x="4802214" y="3645329"/>
                </a:lnTo>
                <a:close/>
                <a:moveTo>
                  <a:pt x="0" y="854563"/>
                </a:moveTo>
                <a:lnTo>
                  <a:pt x="370849" y="1068204"/>
                </a:lnTo>
                <a:lnTo>
                  <a:pt x="368162" y="1499516"/>
                </a:lnTo>
                <a:lnTo>
                  <a:pt x="739010" y="1713157"/>
                </a:lnTo>
                <a:lnTo>
                  <a:pt x="739010" y="2145814"/>
                </a:lnTo>
                <a:lnTo>
                  <a:pt x="368162" y="2358110"/>
                </a:lnTo>
                <a:lnTo>
                  <a:pt x="368162" y="3212672"/>
                </a:lnTo>
                <a:lnTo>
                  <a:pt x="736323" y="3431688"/>
                </a:lnTo>
                <a:lnTo>
                  <a:pt x="736323" y="5574813"/>
                </a:lnTo>
                <a:lnTo>
                  <a:pt x="368162" y="5787110"/>
                </a:lnTo>
                <a:lnTo>
                  <a:pt x="368162" y="6858000"/>
                </a:lnTo>
                <a:lnTo>
                  <a:pt x="0" y="6858000"/>
                </a:lnTo>
                <a:close/>
                <a:moveTo>
                  <a:pt x="4434053" y="428626"/>
                </a:moveTo>
                <a:lnTo>
                  <a:pt x="4068581" y="642267"/>
                </a:lnTo>
                <a:lnTo>
                  <a:pt x="4434053" y="858595"/>
                </a:lnTo>
                <a:close/>
                <a:moveTo>
                  <a:pt x="3321509" y="0"/>
                </a:moveTo>
                <a:lnTo>
                  <a:pt x="12197674" y="0"/>
                </a:lnTo>
                <a:lnTo>
                  <a:pt x="12197674" y="6858000"/>
                </a:lnTo>
                <a:lnTo>
                  <a:pt x="2960066" y="6858000"/>
                </a:lnTo>
                <a:lnTo>
                  <a:pt x="2957378" y="6858000"/>
                </a:lnTo>
                <a:lnTo>
                  <a:pt x="2957378" y="6852626"/>
                </a:lnTo>
                <a:lnTo>
                  <a:pt x="2957378" y="5570782"/>
                </a:lnTo>
                <a:lnTo>
                  <a:pt x="3325540" y="5354454"/>
                </a:lnTo>
                <a:lnTo>
                  <a:pt x="3325540" y="4499891"/>
                </a:lnTo>
                <a:lnTo>
                  <a:pt x="3693701" y="4283563"/>
                </a:lnTo>
                <a:lnTo>
                  <a:pt x="3693701" y="3857625"/>
                </a:lnTo>
                <a:lnTo>
                  <a:pt x="4065892" y="3642641"/>
                </a:lnTo>
                <a:lnTo>
                  <a:pt x="4065892" y="1073578"/>
                </a:lnTo>
                <a:lnTo>
                  <a:pt x="3696388" y="854563"/>
                </a:lnTo>
                <a:lnTo>
                  <a:pt x="3696388" y="428625"/>
                </a:lnTo>
                <a:lnTo>
                  <a:pt x="3321509" y="216328"/>
                </a:lnTo>
                <a:close/>
                <a:moveTo>
                  <a:pt x="0" y="0"/>
                </a:moveTo>
                <a:lnTo>
                  <a:pt x="370849" y="0"/>
                </a:lnTo>
                <a:lnTo>
                  <a:pt x="370849" y="216328"/>
                </a:lnTo>
                <a:lnTo>
                  <a:pt x="0" y="428625"/>
                </a:ln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1" name="Freeform 10"/>
          <p:cNvSpPr>
            <a:spLocks/>
          </p:cNvSpPr>
          <p:nvPr userDrawn="1"/>
        </p:nvSpPr>
        <p:spPr bwMode="auto">
          <a:xfrm>
            <a:off x="4436739" y="1287219"/>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E9B43"/>
              </a:gs>
              <a:gs pos="100000">
                <a:srgbClr val="FE9441"/>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2" name="Freeform 11"/>
          <p:cNvSpPr>
            <a:spLocks/>
          </p:cNvSpPr>
          <p:nvPr userDrawn="1"/>
        </p:nvSpPr>
        <p:spPr bwMode="auto">
          <a:xfrm>
            <a:off x="1111200" y="1070891"/>
            <a:ext cx="368161" cy="425938"/>
          </a:xfrm>
          <a:custGeom>
            <a:avLst/>
            <a:gdLst>
              <a:gd name="T0" fmla="*/ 0 w 274"/>
              <a:gd name="T1" fmla="*/ 317 h 317"/>
              <a:gd name="T2" fmla="*/ 0 w 274"/>
              <a:gd name="T3" fmla="*/ 0 h 317"/>
              <a:gd name="T4" fmla="*/ 274 w 274"/>
              <a:gd name="T5" fmla="*/ 159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9"/>
                </a:lnTo>
                <a:lnTo>
                  <a:pt x="0" y="317"/>
                </a:lnTo>
                <a:close/>
              </a:path>
            </a:pathLst>
          </a:custGeom>
          <a:gradFill>
            <a:gsLst>
              <a:gs pos="0">
                <a:srgbClr val="FE9B43"/>
              </a:gs>
              <a:gs pos="100000">
                <a:srgbClr val="FE9441"/>
              </a:gs>
            </a:gsLst>
            <a:lin ang="5400000" scaled="1"/>
          </a:gradFill>
          <a:ln>
            <a:noFill/>
          </a:ln>
        </p:spPr>
        <p:txBody>
          <a:bodyPr vert="horz" wrap="square" lIns="91440" tIns="45720" rIns="91440" bIns="45720" numCol="1" anchor="t" anchorCtr="0" compatLnSpc="1">
            <a:prstTxWarp prst="textNoShape">
              <a:avLst/>
            </a:prstTxWarp>
          </a:bodyPr>
          <a:lstStyle/>
          <a:p>
            <a:pPr lv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16" name="Freeform 15"/>
          <p:cNvSpPr>
            <a:spLocks/>
          </p:cNvSpPr>
          <p:nvPr userDrawn="1"/>
        </p:nvSpPr>
        <p:spPr bwMode="auto">
          <a:xfrm>
            <a:off x="736321" y="6003437"/>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5D4264"/>
              </a:gs>
              <a:gs pos="100000">
                <a:srgbClr val="463B6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7" name="Freeform 16"/>
          <p:cNvSpPr>
            <a:spLocks/>
          </p:cNvSpPr>
          <p:nvPr userDrawn="1"/>
        </p:nvSpPr>
        <p:spPr bwMode="auto">
          <a:xfrm>
            <a:off x="3700418" y="6215734"/>
            <a:ext cx="365473" cy="425938"/>
          </a:xfrm>
          <a:custGeom>
            <a:avLst/>
            <a:gdLst>
              <a:gd name="T0" fmla="*/ 272 w 272"/>
              <a:gd name="T1" fmla="*/ 317 h 317"/>
              <a:gd name="T2" fmla="*/ 272 w 272"/>
              <a:gd name="T3" fmla="*/ 0 h 317"/>
              <a:gd name="T4" fmla="*/ 0 w 272"/>
              <a:gd name="T5" fmla="*/ 159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272" y="0"/>
                </a:lnTo>
                <a:lnTo>
                  <a:pt x="0" y="159"/>
                </a:lnTo>
                <a:lnTo>
                  <a:pt x="272" y="317"/>
                </a:lnTo>
                <a:close/>
              </a:path>
            </a:pathLst>
          </a:custGeom>
          <a:gradFill>
            <a:gsLst>
              <a:gs pos="0">
                <a:srgbClr val="4B3C66"/>
              </a:gs>
              <a:gs pos="100000">
                <a:srgbClr val="39386B"/>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 name="Freeform 11"/>
          <p:cNvSpPr>
            <a:spLocks/>
          </p:cNvSpPr>
          <p:nvPr userDrawn="1"/>
        </p:nvSpPr>
        <p:spPr bwMode="auto">
          <a:xfrm>
            <a:off x="3325539" y="5784422"/>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66425F"/>
              </a:gs>
              <a:gs pos="100000">
                <a:srgbClr val="513E6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 name="Freeform 12"/>
          <p:cNvSpPr>
            <a:spLocks/>
          </p:cNvSpPr>
          <p:nvPr userDrawn="1"/>
        </p:nvSpPr>
        <p:spPr bwMode="auto">
          <a:xfrm>
            <a:off x="3332257" y="2793453"/>
            <a:ext cx="368161" cy="425938"/>
          </a:xfrm>
          <a:custGeom>
            <a:avLst/>
            <a:gdLst>
              <a:gd name="T0" fmla="*/ 0 w 274"/>
              <a:gd name="T1" fmla="*/ 317 h 317"/>
              <a:gd name="T2" fmla="*/ 0 w 274"/>
              <a:gd name="T3" fmla="*/ 0 h 317"/>
              <a:gd name="T4" fmla="*/ 274 w 274"/>
              <a:gd name="T5" fmla="*/ 159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9"/>
                </a:lnTo>
                <a:lnTo>
                  <a:pt x="0" y="317"/>
                </a:lnTo>
                <a:close/>
              </a:path>
            </a:pathLst>
          </a:custGeom>
          <a:gradFill>
            <a:gsLst>
              <a:gs pos="0">
                <a:srgbClr val="FF7638"/>
              </a:gs>
              <a:gs pos="100000">
                <a:srgbClr val="FF6E3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3" name="Freeform 13"/>
          <p:cNvSpPr>
            <a:spLocks/>
          </p:cNvSpPr>
          <p:nvPr userDrawn="1"/>
        </p:nvSpPr>
        <p:spPr bwMode="auto">
          <a:xfrm>
            <a:off x="1111200" y="1713156"/>
            <a:ext cx="368161" cy="428625"/>
          </a:xfrm>
          <a:custGeom>
            <a:avLst/>
            <a:gdLst>
              <a:gd name="T0" fmla="*/ 274 w 274"/>
              <a:gd name="T1" fmla="*/ 319 h 319"/>
              <a:gd name="T2" fmla="*/ 274 w 274"/>
              <a:gd name="T3" fmla="*/ 0 h 319"/>
              <a:gd name="T4" fmla="*/ 0 w 274"/>
              <a:gd name="T5" fmla="*/ 158 h 319"/>
              <a:gd name="T6" fmla="*/ 274 w 274"/>
              <a:gd name="T7" fmla="*/ 319 h 319"/>
            </a:gdLst>
            <a:ahLst/>
            <a:cxnLst>
              <a:cxn ang="0">
                <a:pos x="T0" y="T1"/>
              </a:cxn>
              <a:cxn ang="0">
                <a:pos x="T2" y="T3"/>
              </a:cxn>
              <a:cxn ang="0">
                <a:pos x="T4" y="T5"/>
              </a:cxn>
              <a:cxn ang="0">
                <a:pos x="T6" y="T7"/>
              </a:cxn>
            </a:cxnLst>
            <a:rect l="0" t="0" r="r" b="b"/>
            <a:pathLst>
              <a:path w="274" h="319">
                <a:moveTo>
                  <a:pt x="274" y="319"/>
                </a:moveTo>
                <a:lnTo>
                  <a:pt x="274" y="0"/>
                </a:lnTo>
                <a:lnTo>
                  <a:pt x="0" y="158"/>
                </a:lnTo>
                <a:lnTo>
                  <a:pt x="274" y="319"/>
                </a:lnTo>
                <a:close/>
              </a:path>
            </a:pathLst>
          </a:custGeom>
          <a:gradFill>
            <a:gsLst>
              <a:gs pos="0">
                <a:srgbClr val="FE9040"/>
              </a:gs>
              <a:gs pos="100000">
                <a:srgbClr val="FE893D"/>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Freeform 14"/>
          <p:cNvSpPr>
            <a:spLocks/>
          </p:cNvSpPr>
          <p:nvPr userDrawn="1"/>
        </p:nvSpPr>
        <p:spPr bwMode="auto">
          <a:xfrm>
            <a:off x="4065891" y="4283563"/>
            <a:ext cx="729603" cy="1074922"/>
          </a:xfrm>
          <a:custGeom>
            <a:avLst/>
            <a:gdLst>
              <a:gd name="T0" fmla="*/ 0 w 543"/>
              <a:gd name="T1" fmla="*/ 159 h 800"/>
              <a:gd name="T2" fmla="*/ 0 w 543"/>
              <a:gd name="T3" fmla="*/ 800 h 800"/>
              <a:gd name="T4" fmla="*/ 272 w 543"/>
              <a:gd name="T5" fmla="*/ 641 h 800"/>
              <a:gd name="T6" fmla="*/ 272 w 543"/>
              <a:gd name="T7" fmla="*/ 317 h 800"/>
              <a:gd name="T8" fmla="*/ 543 w 543"/>
              <a:gd name="T9" fmla="*/ 159 h 800"/>
              <a:gd name="T10" fmla="*/ 272 w 543"/>
              <a:gd name="T11" fmla="*/ 0 h 800"/>
              <a:gd name="T12" fmla="*/ 0 w 543"/>
              <a:gd name="T13" fmla="*/ 159 h 800"/>
            </a:gdLst>
            <a:ahLst/>
            <a:cxnLst>
              <a:cxn ang="0">
                <a:pos x="T0" y="T1"/>
              </a:cxn>
              <a:cxn ang="0">
                <a:pos x="T2" y="T3"/>
              </a:cxn>
              <a:cxn ang="0">
                <a:pos x="T4" y="T5"/>
              </a:cxn>
              <a:cxn ang="0">
                <a:pos x="T6" y="T7"/>
              </a:cxn>
              <a:cxn ang="0">
                <a:pos x="T8" y="T9"/>
              </a:cxn>
              <a:cxn ang="0">
                <a:pos x="T10" y="T11"/>
              </a:cxn>
              <a:cxn ang="0">
                <a:pos x="T12" y="T13"/>
              </a:cxn>
            </a:cxnLst>
            <a:rect l="0" t="0" r="r" b="b"/>
            <a:pathLst>
              <a:path w="543" h="800">
                <a:moveTo>
                  <a:pt x="0" y="159"/>
                </a:moveTo>
                <a:lnTo>
                  <a:pt x="0" y="800"/>
                </a:lnTo>
                <a:lnTo>
                  <a:pt x="272" y="641"/>
                </a:lnTo>
                <a:lnTo>
                  <a:pt x="272" y="317"/>
                </a:lnTo>
                <a:lnTo>
                  <a:pt x="543" y="159"/>
                </a:lnTo>
                <a:lnTo>
                  <a:pt x="272" y="0"/>
                </a:lnTo>
                <a:lnTo>
                  <a:pt x="0" y="159"/>
                </a:lnTo>
                <a:close/>
              </a:path>
            </a:pathLst>
          </a:custGeom>
          <a:gradFill>
            <a:gsLst>
              <a:gs pos="0">
                <a:srgbClr val="C65943"/>
              </a:gs>
              <a:gs pos="100000">
                <a:srgbClr val="8C4B5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5" name="Freeform 15"/>
          <p:cNvSpPr>
            <a:spLocks/>
          </p:cNvSpPr>
          <p:nvPr userDrawn="1"/>
        </p:nvSpPr>
        <p:spPr bwMode="auto">
          <a:xfrm>
            <a:off x="370848" y="428625"/>
            <a:ext cx="730947" cy="425938"/>
          </a:xfrm>
          <a:custGeom>
            <a:avLst/>
            <a:gdLst>
              <a:gd name="T0" fmla="*/ 272 w 544"/>
              <a:gd name="T1" fmla="*/ 0 h 317"/>
              <a:gd name="T2" fmla="*/ 0 w 544"/>
              <a:gd name="T3" fmla="*/ 159 h 317"/>
              <a:gd name="T4" fmla="*/ 272 w 544"/>
              <a:gd name="T5" fmla="*/ 317 h 317"/>
              <a:gd name="T6" fmla="*/ 544 w 544"/>
              <a:gd name="T7" fmla="*/ 159 h 317"/>
              <a:gd name="T8" fmla="*/ 272 w 544"/>
              <a:gd name="T9" fmla="*/ 0 h 317"/>
            </a:gdLst>
            <a:ahLst/>
            <a:cxnLst>
              <a:cxn ang="0">
                <a:pos x="T0" y="T1"/>
              </a:cxn>
              <a:cxn ang="0">
                <a:pos x="T2" y="T3"/>
              </a:cxn>
              <a:cxn ang="0">
                <a:pos x="T4" y="T5"/>
              </a:cxn>
              <a:cxn ang="0">
                <a:pos x="T6" y="T7"/>
              </a:cxn>
              <a:cxn ang="0">
                <a:pos x="T8" y="T9"/>
              </a:cxn>
            </a:cxnLst>
            <a:rect l="0" t="0" r="r" b="b"/>
            <a:pathLst>
              <a:path w="544" h="317">
                <a:moveTo>
                  <a:pt x="272" y="0"/>
                </a:moveTo>
                <a:lnTo>
                  <a:pt x="0" y="159"/>
                </a:lnTo>
                <a:lnTo>
                  <a:pt x="272" y="317"/>
                </a:lnTo>
                <a:lnTo>
                  <a:pt x="544" y="159"/>
                </a:lnTo>
                <a:lnTo>
                  <a:pt x="272" y="0"/>
                </a:lnTo>
                <a:close/>
              </a:path>
            </a:pathLst>
          </a:custGeom>
          <a:gradFill>
            <a:gsLst>
              <a:gs pos="0">
                <a:srgbClr val="FDB14A"/>
              </a:gs>
              <a:gs pos="100000">
                <a:srgbClr val="FDA94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6" name="Freeform 16"/>
          <p:cNvSpPr>
            <a:spLocks/>
          </p:cNvSpPr>
          <p:nvPr userDrawn="1"/>
        </p:nvSpPr>
        <p:spPr bwMode="auto">
          <a:xfrm>
            <a:off x="4436739" y="2370202"/>
            <a:ext cx="368161" cy="636891"/>
          </a:xfrm>
          <a:custGeom>
            <a:avLst/>
            <a:gdLst>
              <a:gd name="T0" fmla="*/ 0 w 274"/>
              <a:gd name="T1" fmla="*/ 157 h 474"/>
              <a:gd name="T2" fmla="*/ 3 w 274"/>
              <a:gd name="T3" fmla="*/ 474 h 474"/>
              <a:gd name="T4" fmla="*/ 274 w 274"/>
              <a:gd name="T5" fmla="*/ 315 h 474"/>
              <a:gd name="T6" fmla="*/ 272 w 274"/>
              <a:gd name="T7" fmla="*/ 0 h 474"/>
              <a:gd name="T8" fmla="*/ 0 w 274"/>
              <a:gd name="T9" fmla="*/ 157 h 474"/>
            </a:gdLst>
            <a:ahLst/>
            <a:cxnLst>
              <a:cxn ang="0">
                <a:pos x="T0" y="T1"/>
              </a:cxn>
              <a:cxn ang="0">
                <a:pos x="T2" y="T3"/>
              </a:cxn>
              <a:cxn ang="0">
                <a:pos x="T4" y="T5"/>
              </a:cxn>
              <a:cxn ang="0">
                <a:pos x="T6" y="T7"/>
              </a:cxn>
              <a:cxn ang="0">
                <a:pos x="T8" y="T9"/>
              </a:cxn>
            </a:cxnLst>
            <a:rect l="0" t="0" r="r" b="b"/>
            <a:pathLst>
              <a:path w="274" h="474">
                <a:moveTo>
                  <a:pt x="0" y="157"/>
                </a:moveTo>
                <a:lnTo>
                  <a:pt x="3" y="474"/>
                </a:lnTo>
                <a:lnTo>
                  <a:pt x="274" y="315"/>
                </a:lnTo>
                <a:lnTo>
                  <a:pt x="272" y="0"/>
                </a:lnTo>
                <a:lnTo>
                  <a:pt x="0" y="157"/>
                </a:lnTo>
                <a:close/>
              </a:path>
            </a:pathLst>
          </a:custGeom>
          <a:gradFill>
            <a:gsLst>
              <a:gs pos="0">
                <a:srgbClr val="FE803B"/>
              </a:gs>
              <a:gs pos="100000">
                <a:srgbClr val="FF7337"/>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7" name="Freeform 21"/>
          <p:cNvSpPr>
            <a:spLocks/>
          </p:cNvSpPr>
          <p:nvPr userDrawn="1"/>
        </p:nvSpPr>
        <p:spPr bwMode="auto">
          <a:xfrm>
            <a:off x="3337632" y="858594"/>
            <a:ext cx="730947" cy="854563"/>
          </a:xfrm>
          <a:custGeom>
            <a:avLst/>
            <a:gdLst>
              <a:gd name="T0" fmla="*/ 0 w 544"/>
              <a:gd name="T1" fmla="*/ 477 h 636"/>
              <a:gd name="T2" fmla="*/ 0 w 544"/>
              <a:gd name="T3" fmla="*/ 160 h 636"/>
              <a:gd name="T4" fmla="*/ 272 w 544"/>
              <a:gd name="T5" fmla="*/ 0 h 636"/>
              <a:gd name="T6" fmla="*/ 272 w 544"/>
              <a:gd name="T7" fmla="*/ 319 h 636"/>
              <a:gd name="T8" fmla="*/ 544 w 544"/>
              <a:gd name="T9" fmla="*/ 477 h 636"/>
              <a:gd name="T10" fmla="*/ 272 w 544"/>
              <a:gd name="T11" fmla="*/ 636 h 636"/>
              <a:gd name="T12" fmla="*/ 0 w 544"/>
              <a:gd name="T13" fmla="*/ 477 h 636"/>
            </a:gdLst>
            <a:ahLst/>
            <a:cxnLst>
              <a:cxn ang="0">
                <a:pos x="T0" y="T1"/>
              </a:cxn>
              <a:cxn ang="0">
                <a:pos x="T2" y="T3"/>
              </a:cxn>
              <a:cxn ang="0">
                <a:pos x="T4" y="T5"/>
              </a:cxn>
              <a:cxn ang="0">
                <a:pos x="T6" y="T7"/>
              </a:cxn>
              <a:cxn ang="0">
                <a:pos x="T8" y="T9"/>
              </a:cxn>
              <a:cxn ang="0">
                <a:pos x="T10" y="T11"/>
              </a:cxn>
              <a:cxn ang="0">
                <a:pos x="T12" y="T13"/>
              </a:cxn>
            </a:cxnLst>
            <a:rect l="0" t="0" r="r" b="b"/>
            <a:pathLst>
              <a:path w="544" h="636">
                <a:moveTo>
                  <a:pt x="0" y="477"/>
                </a:moveTo>
                <a:lnTo>
                  <a:pt x="0" y="160"/>
                </a:lnTo>
                <a:lnTo>
                  <a:pt x="272" y="0"/>
                </a:lnTo>
                <a:lnTo>
                  <a:pt x="272" y="319"/>
                </a:lnTo>
                <a:lnTo>
                  <a:pt x="544" y="477"/>
                </a:lnTo>
                <a:lnTo>
                  <a:pt x="272" y="636"/>
                </a:lnTo>
                <a:lnTo>
                  <a:pt x="0" y="477"/>
                </a:lnTo>
                <a:close/>
              </a:path>
            </a:pathLst>
          </a:custGeom>
          <a:gradFill>
            <a:gsLst>
              <a:gs pos="0">
                <a:srgbClr val="FEA646"/>
              </a:gs>
              <a:gs pos="100000">
                <a:srgbClr val="FF9340"/>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8" name="Freeform 22"/>
          <p:cNvSpPr>
            <a:spLocks/>
          </p:cNvSpPr>
          <p:nvPr userDrawn="1"/>
        </p:nvSpPr>
        <p:spPr bwMode="auto">
          <a:xfrm>
            <a:off x="2219713" y="4499891"/>
            <a:ext cx="368161" cy="849188"/>
          </a:xfrm>
          <a:custGeom>
            <a:avLst/>
            <a:gdLst>
              <a:gd name="T0" fmla="*/ 274 w 274"/>
              <a:gd name="T1" fmla="*/ 0 h 632"/>
              <a:gd name="T2" fmla="*/ 274 w 274"/>
              <a:gd name="T3" fmla="*/ 317 h 632"/>
              <a:gd name="T4" fmla="*/ 274 w 274"/>
              <a:gd name="T5" fmla="*/ 632 h 632"/>
              <a:gd name="T6" fmla="*/ 0 w 274"/>
              <a:gd name="T7" fmla="*/ 471 h 632"/>
              <a:gd name="T8" fmla="*/ 0 w 274"/>
              <a:gd name="T9" fmla="*/ 156 h 632"/>
              <a:gd name="T10" fmla="*/ 274 w 274"/>
              <a:gd name="T11" fmla="*/ 0 h 632"/>
            </a:gdLst>
            <a:ahLst/>
            <a:cxnLst>
              <a:cxn ang="0">
                <a:pos x="T0" y="T1"/>
              </a:cxn>
              <a:cxn ang="0">
                <a:pos x="T2" y="T3"/>
              </a:cxn>
              <a:cxn ang="0">
                <a:pos x="T4" y="T5"/>
              </a:cxn>
              <a:cxn ang="0">
                <a:pos x="T6" y="T7"/>
              </a:cxn>
              <a:cxn ang="0">
                <a:pos x="T8" y="T9"/>
              </a:cxn>
              <a:cxn ang="0">
                <a:pos x="T10" y="T11"/>
              </a:cxn>
            </a:cxnLst>
            <a:rect l="0" t="0" r="r" b="b"/>
            <a:pathLst>
              <a:path w="274" h="632">
                <a:moveTo>
                  <a:pt x="274" y="0"/>
                </a:moveTo>
                <a:lnTo>
                  <a:pt x="274" y="317"/>
                </a:lnTo>
                <a:lnTo>
                  <a:pt x="274" y="632"/>
                </a:lnTo>
                <a:lnTo>
                  <a:pt x="0" y="471"/>
                </a:lnTo>
                <a:lnTo>
                  <a:pt x="0" y="156"/>
                </a:lnTo>
                <a:lnTo>
                  <a:pt x="274" y="0"/>
                </a:lnTo>
                <a:close/>
              </a:path>
            </a:pathLst>
          </a:custGeom>
          <a:gradFill>
            <a:gsLst>
              <a:gs pos="0">
                <a:srgbClr val="B85547"/>
              </a:gs>
              <a:gs pos="100000">
                <a:srgbClr val="8A4B54"/>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9" name="Freeform 24"/>
          <p:cNvSpPr>
            <a:spLocks/>
          </p:cNvSpPr>
          <p:nvPr userDrawn="1"/>
        </p:nvSpPr>
        <p:spPr bwMode="auto">
          <a:xfrm>
            <a:off x="368161" y="3645328"/>
            <a:ext cx="368161" cy="425938"/>
          </a:xfrm>
          <a:custGeom>
            <a:avLst/>
            <a:gdLst>
              <a:gd name="T0" fmla="*/ 0 w 274"/>
              <a:gd name="T1" fmla="*/ 317 h 317"/>
              <a:gd name="T2" fmla="*/ 0 w 274"/>
              <a:gd name="T3" fmla="*/ 0 h 317"/>
              <a:gd name="T4" fmla="*/ 274 w 274"/>
              <a:gd name="T5" fmla="*/ 158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8"/>
                </a:lnTo>
                <a:lnTo>
                  <a:pt x="0" y="317"/>
                </a:lnTo>
                <a:close/>
              </a:path>
            </a:pathLst>
          </a:custGeom>
          <a:gradFill>
            <a:gsLst>
              <a:gs pos="0">
                <a:srgbClr val="EE6238"/>
              </a:gs>
              <a:gs pos="100000">
                <a:srgbClr val="DB5E3D"/>
              </a:gs>
            </a:gsLst>
            <a:lin ang="5400000" scaled="1"/>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30" name="Freeform 25"/>
          <p:cNvSpPr>
            <a:spLocks/>
          </p:cNvSpPr>
          <p:nvPr userDrawn="1"/>
        </p:nvSpPr>
        <p:spPr bwMode="auto">
          <a:xfrm>
            <a:off x="0" y="4292968"/>
            <a:ext cx="368161" cy="846501"/>
          </a:xfrm>
          <a:custGeom>
            <a:avLst/>
            <a:gdLst>
              <a:gd name="T0" fmla="*/ 0 w 274"/>
              <a:gd name="T1" fmla="*/ 0 h 630"/>
              <a:gd name="T2" fmla="*/ 0 w 274"/>
              <a:gd name="T3" fmla="*/ 315 h 630"/>
              <a:gd name="T4" fmla="*/ 0 w 274"/>
              <a:gd name="T5" fmla="*/ 630 h 630"/>
              <a:gd name="T6" fmla="*/ 274 w 274"/>
              <a:gd name="T7" fmla="*/ 471 h 630"/>
              <a:gd name="T8" fmla="*/ 274 w 274"/>
              <a:gd name="T9" fmla="*/ 157 h 630"/>
              <a:gd name="T10" fmla="*/ 0 w 274"/>
              <a:gd name="T11" fmla="*/ 0 h 630"/>
            </a:gdLst>
            <a:ahLst/>
            <a:cxnLst>
              <a:cxn ang="0">
                <a:pos x="T0" y="T1"/>
              </a:cxn>
              <a:cxn ang="0">
                <a:pos x="T2" y="T3"/>
              </a:cxn>
              <a:cxn ang="0">
                <a:pos x="T4" y="T5"/>
              </a:cxn>
              <a:cxn ang="0">
                <a:pos x="T6" y="T7"/>
              </a:cxn>
              <a:cxn ang="0">
                <a:pos x="T8" y="T9"/>
              </a:cxn>
              <a:cxn ang="0">
                <a:pos x="T10" y="T11"/>
              </a:cxn>
            </a:cxnLst>
            <a:rect l="0" t="0" r="r" b="b"/>
            <a:pathLst>
              <a:path w="274" h="630">
                <a:moveTo>
                  <a:pt x="0" y="0"/>
                </a:moveTo>
                <a:lnTo>
                  <a:pt x="0" y="315"/>
                </a:lnTo>
                <a:lnTo>
                  <a:pt x="0" y="630"/>
                </a:lnTo>
                <a:lnTo>
                  <a:pt x="274" y="471"/>
                </a:lnTo>
                <a:lnTo>
                  <a:pt x="274" y="157"/>
                </a:lnTo>
                <a:lnTo>
                  <a:pt x="0" y="0"/>
                </a:lnTo>
                <a:close/>
              </a:path>
            </a:pathLst>
          </a:custGeom>
          <a:gradFill>
            <a:gsLst>
              <a:gs pos="0">
                <a:srgbClr val="C35844"/>
              </a:gs>
              <a:gs pos="92000">
                <a:srgbClr val="8A4B54"/>
              </a:gs>
            </a:gsLst>
            <a:lin ang="5400000" scaled="1"/>
          </a:gradFill>
          <a:ln>
            <a:noFill/>
          </a:ln>
        </p:spPr>
        <p:txBody>
          <a:bodyPr vert="horz" wrap="square" lIns="91440" tIns="45720" rIns="91440" bIns="45720" numCol="1" anchor="t" anchorCtr="0" compatLnSpc="1">
            <a:prstTxWarp prst="textNoShape">
              <a:avLst/>
            </a:prstTxWarp>
          </a:bodyPr>
          <a:lstStyle/>
          <a:p>
            <a:pPr lv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31" name="Picture Placeholder 13">
            <a:extLst>
              <a:ext uri="{FF2B5EF4-FFF2-40B4-BE49-F238E27FC236}">
                <a16:creationId xmlns:a16="http://schemas.microsoft.com/office/drawing/2014/main" id="{B27FB25A-25C1-1145-91A1-08CB3FC40AE3}"/>
              </a:ext>
            </a:extLst>
          </p:cNvPr>
          <p:cNvSpPr>
            <a:spLocks noGrp="1"/>
          </p:cNvSpPr>
          <p:nvPr>
            <p:ph type="pic" sz="quarter" idx="10"/>
          </p:nvPr>
        </p:nvSpPr>
        <p:spPr>
          <a:xfrm>
            <a:off x="0" y="2"/>
            <a:ext cx="5235878" cy="6857999"/>
          </a:xfrm>
          <a:custGeom>
            <a:avLst/>
            <a:gdLst>
              <a:gd name="connsiteX0" fmla="*/ 750460 w 5235878"/>
              <a:gd name="connsiteY0" fmla="*/ 6019914 h 6857999"/>
              <a:gd name="connsiteX1" fmla="*/ 750460 w 5235878"/>
              <a:gd name="connsiteY1" fmla="*/ 6412896 h 6857999"/>
              <a:gd name="connsiteX2" fmla="*/ 1087656 w 5235878"/>
              <a:gd name="connsiteY2" fmla="*/ 6215785 h 6857999"/>
              <a:gd name="connsiteX3" fmla="*/ 4065891 w 5235878"/>
              <a:gd name="connsiteY3" fmla="*/ 5358483 h 6857999"/>
              <a:gd name="connsiteX4" fmla="*/ 4065891 w 5235878"/>
              <a:gd name="connsiteY4" fmla="*/ 5784421 h 6857999"/>
              <a:gd name="connsiteX5" fmla="*/ 3700419 w 5235878"/>
              <a:gd name="connsiteY5" fmla="*/ 5570780 h 6857999"/>
              <a:gd name="connsiteX6" fmla="*/ 2573632 w 5235878"/>
              <a:gd name="connsiteY6" fmla="*/ 4532742 h 6857999"/>
              <a:gd name="connsiteX7" fmla="*/ 2233956 w 5235878"/>
              <a:gd name="connsiteY7" fmla="*/ 4726134 h 6857999"/>
              <a:gd name="connsiteX8" fmla="*/ 2233956 w 5235878"/>
              <a:gd name="connsiteY8" fmla="*/ 5116636 h 6857999"/>
              <a:gd name="connsiteX9" fmla="*/ 2573632 w 5235878"/>
              <a:gd name="connsiteY9" fmla="*/ 5316226 h 6857999"/>
              <a:gd name="connsiteX10" fmla="*/ 2573632 w 5235878"/>
              <a:gd name="connsiteY10" fmla="*/ 4925724 h 6857999"/>
              <a:gd name="connsiteX11" fmla="*/ 4436740 w 5235878"/>
              <a:gd name="connsiteY11" fmla="*/ 3431686 h 6857999"/>
              <a:gd name="connsiteX12" fmla="*/ 4802213 w 5235878"/>
              <a:gd name="connsiteY12" fmla="*/ 3645327 h 6857999"/>
              <a:gd name="connsiteX13" fmla="*/ 4436740 w 5235878"/>
              <a:gd name="connsiteY13" fmla="*/ 3857624 h 6857999"/>
              <a:gd name="connsiteX14" fmla="*/ 4068579 w 5235878"/>
              <a:gd name="connsiteY14" fmla="*/ 3645327 h 6857999"/>
              <a:gd name="connsiteX15" fmla="*/ 3346500 w 5235878"/>
              <a:gd name="connsiteY15" fmla="*/ 2809931 h 6857999"/>
              <a:gd name="connsiteX16" fmla="*/ 3346500 w 5235878"/>
              <a:gd name="connsiteY16" fmla="*/ 3202913 h 6857999"/>
              <a:gd name="connsiteX17" fmla="*/ 3686176 w 5235878"/>
              <a:gd name="connsiteY17" fmla="*/ 3007041 h 6857999"/>
              <a:gd name="connsiteX18" fmla="*/ 1465119 w 5235878"/>
              <a:gd name="connsiteY18" fmla="*/ 1729739 h 6857999"/>
              <a:gd name="connsiteX19" fmla="*/ 1125444 w 5235878"/>
              <a:gd name="connsiteY19" fmla="*/ 1925609 h 6857999"/>
              <a:gd name="connsiteX20" fmla="*/ 1465119 w 5235878"/>
              <a:gd name="connsiteY20" fmla="*/ 2125199 h 6857999"/>
              <a:gd name="connsiteX21" fmla="*/ 1125444 w 5235878"/>
              <a:gd name="connsiteY21" fmla="*/ 1087369 h 6857999"/>
              <a:gd name="connsiteX22" fmla="*/ 1125444 w 5235878"/>
              <a:gd name="connsiteY22" fmla="*/ 1480351 h 6857999"/>
              <a:gd name="connsiteX23" fmla="*/ 1465120 w 5235878"/>
              <a:gd name="connsiteY23" fmla="*/ 1284480 h 6857999"/>
              <a:gd name="connsiteX24" fmla="*/ 3703106 w 5235878"/>
              <a:gd name="connsiteY24" fmla="*/ 891654 h 6857999"/>
              <a:gd name="connsiteX25" fmla="*/ 3365910 w 5235878"/>
              <a:gd name="connsiteY25" fmla="*/ 1090004 h 6857999"/>
              <a:gd name="connsiteX26" fmla="*/ 3365910 w 5235878"/>
              <a:gd name="connsiteY26" fmla="*/ 1482986 h 6857999"/>
              <a:gd name="connsiteX27" fmla="*/ 3703106 w 5235878"/>
              <a:gd name="connsiteY27" fmla="*/ 1680096 h 6857999"/>
              <a:gd name="connsiteX28" fmla="*/ 4040302 w 5235878"/>
              <a:gd name="connsiteY28" fmla="*/ 1482986 h 6857999"/>
              <a:gd name="connsiteX29" fmla="*/ 3703106 w 5235878"/>
              <a:gd name="connsiteY29" fmla="*/ 1287115 h 6857999"/>
              <a:gd name="connsiteX30" fmla="*/ 736322 w 5235878"/>
              <a:gd name="connsiteY30" fmla="*/ 445102 h 6857999"/>
              <a:gd name="connsiteX31" fmla="*/ 399126 w 5235878"/>
              <a:gd name="connsiteY31" fmla="*/ 642213 h 6857999"/>
              <a:gd name="connsiteX32" fmla="*/ 736322 w 5235878"/>
              <a:gd name="connsiteY32" fmla="*/ 838084 h 6857999"/>
              <a:gd name="connsiteX33" fmla="*/ 1073518 w 5235878"/>
              <a:gd name="connsiteY33" fmla="*/ 642213 h 6857999"/>
              <a:gd name="connsiteX34" fmla="*/ 4434052 w 5235878"/>
              <a:gd name="connsiteY34" fmla="*/ 428625 h 6857999"/>
              <a:gd name="connsiteX35" fmla="*/ 4434052 w 5235878"/>
              <a:gd name="connsiteY35" fmla="*/ 858594 h 6857999"/>
              <a:gd name="connsiteX36" fmla="*/ 4068580 w 5235878"/>
              <a:gd name="connsiteY36" fmla="*/ 642266 h 6857999"/>
              <a:gd name="connsiteX37" fmla="*/ 370849 w 5235878"/>
              <a:gd name="connsiteY37" fmla="*/ 0 h 6857999"/>
              <a:gd name="connsiteX38" fmla="*/ 3321508 w 5235878"/>
              <a:gd name="connsiteY38" fmla="*/ 0 h 6857999"/>
              <a:gd name="connsiteX39" fmla="*/ 3321508 w 5235878"/>
              <a:gd name="connsiteY39" fmla="*/ 216327 h 6857999"/>
              <a:gd name="connsiteX40" fmla="*/ 3696387 w 5235878"/>
              <a:gd name="connsiteY40" fmla="*/ 428624 h 6857999"/>
              <a:gd name="connsiteX41" fmla="*/ 3696387 w 5235878"/>
              <a:gd name="connsiteY41" fmla="*/ 854562 h 6857999"/>
              <a:gd name="connsiteX42" fmla="*/ 4065891 w 5235878"/>
              <a:gd name="connsiteY42" fmla="*/ 1073577 h 6857999"/>
              <a:gd name="connsiteX43" fmla="*/ 4065891 w 5235878"/>
              <a:gd name="connsiteY43" fmla="*/ 3642639 h 6857999"/>
              <a:gd name="connsiteX44" fmla="*/ 3693700 w 5235878"/>
              <a:gd name="connsiteY44" fmla="*/ 3857623 h 6857999"/>
              <a:gd name="connsiteX45" fmla="*/ 3693700 w 5235878"/>
              <a:gd name="connsiteY45" fmla="*/ 4283561 h 6857999"/>
              <a:gd name="connsiteX46" fmla="*/ 3325539 w 5235878"/>
              <a:gd name="connsiteY46" fmla="*/ 4499889 h 6857999"/>
              <a:gd name="connsiteX47" fmla="*/ 3325539 w 5235878"/>
              <a:gd name="connsiteY47" fmla="*/ 5354452 h 6857999"/>
              <a:gd name="connsiteX48" fmla="*/ 2957377 w 5235878"/>
              <a:gd name="connsiteY48" fmla="*/ 5570780 h 6857999"/>
              <a:gd name="connsiteX49" fmla="*/ 2957377 w 5235878"/>
              <a:gd name="connsiteY49" fmla="*/ 6852624 h 6857999"/>
              <a:gd name="connsiteX50" fmla="*/ 2957377 w 5235878"/>
              <a:gd name="connsiteY50" fmla="*/ 6857998 h 6857999"/>
              <a:gd name="connsiteX51" fmla="*/ 2960065 w 5235878"/>
              <a:gd name="connsiteY51" fmla="*/ 6857998 h 6857999"/>
              <a:gd name="connsiteX52" fmla="*/ 5235878 w 5235878"/>
              <a:gd name="connsiteY52" fmla="*/ 6857998 h 6857999"/>
              <a:gd name="connsiteX53" fmla="*/ 5235878 w 5235878"/>
              <a:gd name="connsiteY53" fmla="*/ 6857999 h 6857999"/>
              <a:gd name="connsiteX54" fmla="*/ 0 w 5235878"/>
              <a:gd name="connsiteY54" fmla="*/ 6857999 h 6857999"/>
              <a:gd name="connsiteX55" fmla="*/ 0 w 5235878"/>
              <a:gd name="connsiteY55" fmla="*/ 6857998 h 6857999"/>
              <a:gd name="connsiteX56" fmla="*/ 368162 w 5235878"/>
              <a:gd name="connsiteY56" fmla="*/ 6857998 h 6857999"/>
              <a:gd name="connsiteX57" fmla="*/ 368162 w 5235878"/>
              <a:gd name="connsiteY57" fmla="*/ 5787108 h 6857999"/>
              <a:gd name="connsiteX58" fmla="*/ 736323 w 5235878"/>
              <a:gd name="connsiteY58" fmla="*/ 5574811 h 6857999"/>
              <a:gd name="connsiteX59" fmla="*/ 736323 w 5235878"/>
              <a:gd name="connsiteY59" fmla="*/ 3431686 h 6857999"/>
              <a:gd name="connsiteX60" fmla="*/ 368162 w 5235878"/>
              <a:gd name="connsiteY60" fmla="*/ 3212670 h 6857999"/>
              <a:gd name="connsiteX61" fmla="*/ 368162 w 5235878"/>
              <a:gd name="connsiteY61" fmla="*/ 2358109 h 6857999"/>
              <a:gd name="connsiteX62" fmla="*/ 739009 w 5235878"/>
              <a:gd name="connsiteY62" fmla="*/ 2145813 h 6857999"/>
              <a:gd name="connsiteX63" fmla="*/ 739009 w 5235878"/>
              <a:gd name="connsiteY63" fmla="*/ 1713156 h 6857999"/>
              <a:gd name="connsiteX64" fmla="*/ 368162 w 5235878"/>
              <a:gd name="connsiteY64" fmla="*/ 1499515 h 6857999"/>
              <a:gd name="connsiteX65" fmla="*/ 370849 w 5235878"/>
              <a:gd name="connsiteY65" fmla="*/ 1068203 h 6857999"/>
              <a:gd name="connsiteX66" fmla="*/ 0 w 5235878"/>
              <a:gd name="connsiteY66" fmla="*/ 854562 h 6857999"/>
              <a:gd name="connsiteX67" fmla="*/ 0 w 5235878"/>
              <a:gd name="connsiteY67" fmla="*/ 428624 h 6857999"/>
              <a:gd name="connsiteX68" fmla="*/ 370849 w 5235878"/>
              <a:gd name="connsiteY68" fmla="*/ 216327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235878" h="6857999">
                <a:moveTo>
                  <a:pt x="750460" y="6019914"/>
                </a:moveTo>
                <a:lnTo>
                  <a:pt x="750460" y="6412896"/>
                </a:lnTo>
                <a:lnTo>
                  <a:pt x="1087656" y="6215785"/>
                </a:lnTo>
                <a:close/>
                <a:moveTo>
                  <a:pt x="4065891" y="5358483"/>
                </a:moveTo>
                <a:lnTo>
                  <a:pt x="4065891" y="5784421"/>
                </a:lnTo>
                <a:lnTo>
                  <a:pt x="3700419" y="5570780"/>
                </a:lnTo>
                <a:close/>
                <a:moveTo>
                  <a:pt x="2573632" y="4532742"/>
                </a:moveTo>
                <a:lnTo>
                  <a:pt x="2233956" y="4726134"/>
                </a:lnTo>
                <a:lnTo>
                  <a:pt x="2233956" y="5116636"/>
                </a:lnTo>
                <a:lnTo>
                  <a:pt x="2573632" y="5316226"/>
                </a:lnTo>
                <a:lnTo>
                  <a:pt x="2573632" y="4925724"/>
                </a:lnTo>
                <a:close/>
                <a:moveTo>
                  <a:pt x="4436740" y="3431686"/>
                </a:moveTo>
                <a:lnTo>
                  <a:pt x="4802213" y="3645327"/>
                </a:lnTo>
                <a:lnTo>
                  <a:pt x="4436740" y="3857624"/>
                </a:lnTo>
                <a:lnTo>
                  <a:pt x="4068579" y="3645327"/>
                </a:lnTo>
                <a:close/>
                <a:moveTo>
                  <a:pt x="3346500" y="2809931"/>
                </a:moveTo>
                <a:lnTo>
                  <a:pt x="3346500" y="3202913"/>
                </a:lnTo>
                <a:lnTo>
                  <a:pt x="3686176" y="3007041"/>
                </a:lnTo>
                <a:close/>
                <a:moveTo>
                  <a:pt x="1465119" y="1729739"/>
                </a:moveTo>
                <a:lnTo>
                  <a:pt x="1125444" y="1925609"/>
                </a:lnTo>
                <a:lnTo>
                  <a:pt x="1465119" y="2125199"/>
                </a:lnTo>
                <a:close/>
                <a:moveTo>
                  <a:pt x="1125444" y="1087369"/>
                </a:moveTo>
                <a:lnTo>
                  <a:pt x="1125444" y="1480351"/>
                </a:lnTo>
                <a:lnTo>
                  <a:pt x="1465120" y="1284480"/>
                </a:lnTo>
                <a:close/>
                <a:moveTo>
                  <a:pt x="3703106" y="891654"/>
                </a:moveTo>
                <a:lnTo>
                  <a:pt x="3365910" y="1090004"/>
                </a:lnTo>
                <a:lnTo>
                  <a:pt x="3365910" y="1482986"/>
                </a:lnTo>
                <a:lnTo>
                  <a:pt x="3703106" y="1680096"/>
                </a:lnTo>
                <a:lnTo>
                  <a:pt x="4040302" y="1482986"/>
                </a:lnTo>
                <a:lnTo>
                  <a:pt x="3703106" y="1287115"/>
                </a:lnTo>
                <a:close/>
                <a:moveTo>
                  <a:pt x="736322" y="445102"/>
                </a:moveTo>
                <a:lnTo>
                  <a:pt x="399126" y="642213"/>
                </a:lnTo>
                <a:lnTo>
                  <a:pt x="736322" y="838084"/>
                </a:lnTo>
                <a:lnTo>
                  <a:pt x="1073518" y="642213"/>
                </a:lnTo>
                <a:close/>
                <a:moveTo>
                  <a:pt x="4434052" y="428625"/>
                </a:moveTo>
                <a:lnTo>
                  <a:pt x="4434052" y="858594"/>
                </a:lnTo>
                <a:lnTo>
                  <a:pt x="4068580" y="642266"/>
                </a:lnTo>
                <a:close/>
                <a:moveTo>
                  <a:pt x="370849" y="0"/>
                </a:moveTo>
                <a:lnTo>
                  <a:pt x="3321508" y="0"/>
                </a:lnTo>
                <a:lnTo>
                  <a:pt x="3321508" y="216327"/>
                </a:lnTo>
                <a:lnTo>
                  <a:pt x="3696387" y="428624"/>
                </a:lnTo>
                <a:lnTo>
                  <a:pt x="3696387" y="854562"/>
                </a:lnTo>
                <a:lnTo>
                  <a:pt x="4065891" y="1073577"/>
                </a:lnTo>
                <a:lnTo>
                  <a:pt x="4065891" y="3642639"/>
                </a:lnTo>
                <a:lnTo>
                  <a:pt x="3693700" y="3857623"/>
                </a:lnTo>
                <a:lnTo>
                  <a:pt x="3693700" y="4283561"/>
                </a:lnTo>
                <a:lnTo>
                  <a:pt x="3325539" y="4499889"/>
                </a:lnTo>
                <a:lnTo>
                  <a:pt x="3325539" y="5354452"/>
                </a:lnTo>
                <a:lnTo>
                  <a:pt x="2957377" y="5570780"/>
                </a:lnTo>
                <a:lnTo>
                  <a:pt x="2957377" y="6852624"/>
                </a:lnTo>
                <a:lnTo>
                  <a:pt x="2957377" y="6857998"/>
                </a:lnTo>
                <a:lnTo>
                  <a:pt x="2960065" y="6857998"/>
                </a:lnTo>
                <a:lnTo>
                  <a:pt x="5235878" y="6857998"/>
                </a:lnTo>
                <a:lnTo>
                  <a:pt x="5235878" y="6857999"/>
                </a:lnTo>
                <a:lnTo>
                  <a:pt x="0" y="6857999"/>
                </a:lnTo>
                <a:lnTo>
                  <a:pt x="0" y="6857998"/>
                </a:lnTo>
                <a:lnTo>
                  <a:pt x="368162" y="6857998"/>
                </a:lnTo>
                <a:lnTo>
                  <a:pt x="368162" y="5787108"/>
                </a:lnTo>
                <a:lnTo>
                  <a:pt x="736323" y="5574811"/>
                </a:lnTo>
                <a:lnTo>
                  <a:pt x="736323" y="3431686"/>
                </a:lnTo>
                <a:lnTo>
                  <a:pt x="368162" y="3212670"/>
                </a:lnTo>
                <a:lnTo>
                  <a:pt x="368162" y="2358109"/>
                </a:lnTo>
                <a:lnTo>
                  <a:pt x="739009" y="2145813"/>
                </a:lnTo>
                <a:lnTo>
                  <a:pt x="739009" y="1713156"/>
                </a:lnTo>
                <a:lnTo>
                  <a:pt x="368162" y="1499515"/>
                </a:lnTo>
                <a:lnTo>
                  <a:pt x="370849" y="1068203"/>
                </a:lnTo>
                <a:lnTo>
                  <a:pt x="0" y="854562"/>
                </a:lnTo>
                <a:lnTo>
                  <a:pt x="0" y="428624"/>
                </a:lnTo>
                <a:lnTo>
                  <a:pt x="370849" y="216327"/>
                </a:lnTo>
                <a:close/>
              </a:path>
            </a:pathLst>
          </a:custGeom>
        </p:spPr>
        <p:txBody>
          <a:bodyPr wrap="square">
            <a:noAutofit/>
          </a:bodyPr>
          <a:lstStyle>
            <a:lvl1pPr marL="0" indent="0">
              <a:buNone/>
              <a:defRPr sz="120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to add picture</a:t>
            </a:r>
            <a:endParaRPr lang="ar-SA"/>
          </a:p>
        </p:txBody>
      </p:sp>
      <p:sp>
        <p:nvSpPr>
          <p:cNvPr id="18" name="Title 1">
            <a:extLst>
              <a:ext uri="{FF2B5EF4-FFF2-40B4-BE49-F238E27FC236}">
                <a16:creationId xmlns:a16="http://schemas.microsoft.com/office/drawing/2014/main" id="{31BBA778-64E4-9C4C-8806-1A8C377A972B}"/>
              </a:ext>
            </a:extLst>
          </p:cNvPr>
          <p:cNvSpPr>
            <a:spLocks noGrp="1"/>
          </p:cNvSpPr>
          <p:nvPr>
            <p:ph type="title" hasCustomPrompt="1"/>
          </p:nvPr>
        </p:nvSpPr>
        <p:spPr>
          <a:xfrm>
            <a:off x="6497354" y="1496859"/>
            <a:ext cx="3796431" cy="2674307"/>
          </a:xfrm>
        </p:spPr>
        <p:txBody>
          <a:bodyPr lIns="0" tIns="0" rIns="0" bIns="0" anchor="b">
            <a:noAutofit/>
          </a:bodyPr>
          <a:lstStyle>
            <a:lvl1pPr>
              <a:defRPr sz="2800" b="0">
                <a:latin typeface="Arial" panose="020B0604020202020204" pitchFamily="34" charset="0"/>
                <a:ea typeface="+mj-ea"/>
                <a:cs typeface="Arial" panose="020B0604020202020204" pitchFamily="34" charset="0"/>
                <a:sym typeface="Arial" panose="020B0604020202020204" pitchFamily="34" charset="0"/>
              </a:defRPr>
            </a:lvl1pPr>
          </a:lstStyle>
          <a:p>
            <a:r>
              <a:rPr lang="en-US"/>
              <a:t>Divider title goes here</a:t>
            </a:r>
            <a:endParaRPr lang="ar-SA"/>
          </a:p>
        </p:txBody>
      </p:sp>
      <p:sp>
        <p:nvSpPr>
          <p:cNvPr id="20" name="Text Placeholder 2">
            <a:extLst>
              <a:ext uri="{FF2B5EF4-FFF2-40B4-BE49-F238E27FC236}">
                <a16:creationId xmlns:a16="http://schemas.microsoft.com/office/drawing/2014/main" id="{F91C9796-CB07-194B-B62D-8AC12B657E13}"/>
              </a:ext>
            </a:extLst>
          </p:cNvPr>
          <p:cNvSpPr>
            <a:spLocks noGrp="1"/>
          </p:cNvSpPr>
          <p:nvPr>
            <p:ph type="body" idx="1" hasCustomPrompt="1"/>
          </p:nvPr>
        </p:nvSpPr>
        <p:spPr>
          <a:xfrm>
            <a:off x="6497354" y="4280981"/>
            <a:ext cx="1679013" cy="1688273"/>
          </a:xfrm>
        </p:spPr>
        <p:txBody>
          <a:bodyPr lIns="0" tIns="0" rIns="0" bIns="0">
            <a:noAutofit/>
          </a:bodyPr>
          <a:lstStyle>
            <a:lvl1pPr marL="0" indent="0">
              <a:buNone/>
              <a:defRPr sz="12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
        <p:nvSpPr>
          <p:cNvPr id="22" name="Text Placeholder 2">
            <a:extLst>
              <a:ext uri="{FF2B5EF4-FFF2-40B4-BE49-F238E27FC236}">
                <a16:creationId xmlns:a16="http://schemas.microsoft.com/office/drawing/2014/main" id="{7940D795-3B71-D04C-A435-56E00A183FAE}"/>
              </a:ext>
            </a:extLst>
          </p:cNvPr>
          <p:cNvSpPr>
            <a:spLocks noGrp="1"/>
          </p:cNvSpPr>
          <p:nvPr>
            <p:ph type="body" idx="11" hasCustomPrompt="1"/>
          </p:nvPr>
        </p:nvSpPr>
        <p:spPr>
          <a:xfrm>
            <a:off x="8614772" y="4280981"/>
            <a:ext cx="1679013" cy="1688273"/>
          </a:xfrm>
        </p:spPr>
        <p:txBody>
          <a:bodyPr lIns="0" tIns="0" rIns="0" bIns="0">
            <a:noAutofit/>
          </a:bodyPr>
          <a:lstStyle>
            <a:lvl1pPr marL="0" indent="0">
              <a:buNone/>
              <a:defRPr sz="12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Tree>
    <p:extLst>
      <p:ext uri="{BB962C8B-B14F-4D97-AF65-F5344CB8AC3E}">
        <p14:creationId xmlns:p14="http://schemas.microsoft.com/office/powerpoint/2010/main" val="1658755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746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2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9" name="Date Placeholder 2"/>
          <p:cNvSpPr>
            <a:spLocks noGrp="1"/>
          </p:cNvSpPr>
          <p:nvPr>
            <p:ph type="dt" sz="half" idx="10"/>
          </p:nvPr>
        </p:nvSpPr>
        <p:spPr>
          <a:xfrm>
            <a:off x="9677400" y="6461970"/>
            <a:ext cx="1482051" cy="153888"/>
          </a:xfrm>
          <a:prstGeom prst="rect">
            <a:avLst/>
          </a:prstGeom>
        </p:spPr>
        <p:txBody>
          <a:bodyPr/>
          <a:lstStyle>
            <a:lvl1pPr>
              <a:defRPr>
                <a:solidFill>
                  <a:srgbClr val="8C8C8C"/>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36D6F29D-DE9D-4743-AF90-DCEDCC3B9E5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863756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5652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4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3041821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4707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8"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CC736E-F5ED-4412-AFAD-BD08C41F041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2" name="TextBox 11"/>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3"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A321573E-17E0-4ADD-9098-B126877D7CE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2971560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4260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9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0368C4-D68E-47CF-9671-7D99823E7821}"/>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2"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5850949" cy="909637"/>
          </a:xfrm>
        </p:spPr>
        <p:txBody>
          <a:bodyPr lIns="0" tIns="0" rIns="0" bIns="0" anchor="t" anchorCtr="0">
            <a:noAutofit/>
          </a:bodyPr>
          <a:lstStyle>
            <a:lvl1pPr>
              <a:defRPr sz="3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endParaRPr lang="ar-SA"/>
          </a:p>
        </p:txBody>
      </p:sp>
      <p:sp>
        <p:nvSpPr>
          <p:cNvPr id="19" name="TextBox 18"/>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grpSp>
        <p:nvGrpSpPr>
          <p:cNvPr id="71" name="Group 70"/>
          <p:cNvGrpSpPr/>
          <p:nvPr userDrawn="1"/>
        </p:nvGrpSpPr>
        <p:grpSpPr>
          <a:xfrm>
            <a:off x="293898" y="558343"/>
            <a:ext cx="669505" cy="835189"/>
            <a:chOff x="324330" y="584804"/>
            <a:chExt cx="608641" cy="759263"/>
          </a:xfrm>
        </p:grpSpPr>
        <p:sp>
          <p:nvSpPr>
            <p:cNvPr id="72" name="Parallelogram 71"/>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73" name="Rectangle 72"/>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grpSp>
      <p:sp>
        <p:nvSpPr>
          <p:cNvPr id="14" name="Footer Placeholder 4">
            <a:extLst>
              <a:ext uri="{FF2B5EF4-FFF2-40B4-BE49-F238E27FC236}">
                <a16:creationId xmlns:a16="http://schemas.microsoft.com/office/drawing/2014/main" id="{C4E2DF32-7AC8-4113-99F9-20C3217346C5}"/>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4007065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39231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1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646291E-DE10-4364-A565-9610F0EE1DAF}"/>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pic>
        <p:nvPicPr>
          <p:cNvPr id="9" name="Picture 8"/>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0"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4267795" cy="909637"/>
          </a:xfrm>
        </p:spPr>
        <p:txBody>
          <a:bodyPr lIns="0" tIns="0" rIns="0" bIns="0" anchor="t" anchorCtr="0">
            <a:noAutofit/>
          </a:bodyPr>
          <a:lstStyle>
            <a:lvl1pPr rtl="0">
              <a:defRPr sz="3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endParaRPr lang="ar-SA"/>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9"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grpSp>
        <p:nvGrpSpPr>
          <p:cNvPr id="78" name="Group 77"/>
          <p:cNvGrpSpPr/>
          <p:nvPr userDrawn="1"/>
        </p:nvGrpSpPr>
        <p:grpSpPr>
          <a:xfrm>
            <a:off x="293898" y="558343"/>
            <a:ext cx="669505" cy="835189"/>
            <a:chOff x="324330" y="584804"/>
            <a:chExt cx="608641" cy="759263"/>
          </a:xfrm>
        </p:grpSpPr>
        <p:sp>
          <p:nvSpPr>
            <p:cNvPr id="79" name="Parallelogram 78"/>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80" name="Rectangle 79"/>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grpSp>
    </p:spTree>
    <p:extLst>
      <p:ext uri="{BB962C8B-B14F-4D97-AF65-F5344CB8AC3E}">
        <p14:creationId xmlns:p14="http://schemas.microsoft.com/office/powerpoint/2010/main" val="37613807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484912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4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0DC9F28-E4E2-418E-B810-B9C9EBBE7113}"/>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7" name="Title 4"/>
          <p:cNvSpPr>
            <a:spLocks noGrp="1"/>
          </p:cNvSpPr>
          <p:nvPr>
            <p:ph type="title" hasCustomPrompt="1"/>
          </p:nvPr>
        </p:nvSpPr>
        <p:spPr>
          <a:xfrm>
            <a:off x="695325" y="2681103"/>
            <a:ext cx="3062556" cy="1495794"/>
          </a:xfrm>
          <a:prstGeom prst="rect">
            <a:avLst/>
          </a:prstGeom>
        </p:spPr>
        <p:txBody>
          <a:bodyPr anchor="ctr">
            <a:noAutofit/>
          </a:bodyPr>
          <a:lstStyle>
            <a:lvl1pPr>
              <a:defRPr sz="3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Tree>
    <p:extLst>
      <p:ext uri="{BB962C8B-B14F-4D97-AF65-F5344CB8AC3E}">
        <p14:creationId xmlns:p14="http://schemas.microsoft.com/office/powerpoint/2010/main" val="3805771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892491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64"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697BA8-C793-46E3-A441-E6E8A66948B0}"/>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95325" y="2681103"/>
            <a:ext cx="3062556" cy="1495794"/>
          </a:xfrm>
          <a:prstGeom prst="rect">
            <a:avLst/>
          </a:prstGeom>
        </p:spPr>
        <p:txBody>
          <a:bodyPr anchor="ctr">
            <a:noAutofit/>
          </a:bodyPr>
          <a:lstStyle>
            <a:lvl1pPr>
              <a:defRPr sz="3400">
                <a:solidFill>
                  <a:schemeClr val="bg1"/>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1" name="TextBox 20"/>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12" name="Footer Placeholder 4">
            <a:extLst>
              <a:ext uri="{FF2B5EF4-FFF2-40B4-BE49-F238E27FC236}">
                <a16:creationId xmlns:a16="http://schemas.microsoft.com/office/drawing/2014/main" id="{15C6CB8B-AAF3-4F17-9B5A-2845E3D61F0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818751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20744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8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743F5F-AA84-4D9A-87EA-C7897D7C6ABE}"/>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95325" y="1785600"/>
            <a:ext cx="4323075" cy="3286800"/>
          </a:xfrm>
          <a:prstGeom prst="rect">
            <a:avLst/>
          </a:prstGeom>
          <a:noFill/>
        </p:spPr>
        <p:txBody>
          <a:bodyPr wrap="square" lIns="0" tIns="0" rIns="320040" bIns="0" anchor="ctr">
            <a:noAutofit/>
          </a:bodyPr>
          <a:lstStyle>
            <a:lvl1pPr>
              <a:defRPr sz="4400">
                <a:solidFill>
                  <a:schemeClr val="bg1"/>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15" name="Footer Placeholder 4">
            <a:extLst>
              <a:ext uri="{FF2B5EF4-FFF2-40B4-BE49-F238E27FC236}">
                <a16:creationId xmlns:a16="http://schemas.microsoft.com/office/drawing/2014/main" id="{33E26693-A5AA-4A1A-8AB7-E0F6CB510DFF}"/>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3844744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6273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1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4A771F-A12C-4B8A-8A55-AC1E3438DEA4}"/>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4" name="Title 1"/>
          <p:cNvSpPr>
            <a:spLocks noGrp="1"/>
          </p:cNvSpPr>
          <p:nvPr>
            <p:ph type="title" hasCustomPrompt="1"/>
          </p:nvPr>
        </p:nvSpPr>
        <p:spPr bwMode="blackWhite">
          <a:xfrm>
            <a:off x="695325" y="1804650"/>
            <a:ext cx="6182227" cy="3286800"/>
          </a:xfrm>
          <a:prstGeom prst="rect">
            <a:avLst/>
          </a:prstGeom>
        </p:spPr>
        <p:txBody>
          <a:bodyPr anchor="ctr">
            <a:noAutofit/>
          </a:bodyPr>
          <a:lstStyle>
            <a:lvl1pPr>
              <a:defRPr sz="4400">
                <a:solidFill>
                  <a:schemeClr val="bg1"/>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edit title</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12" name="Footer Placeholder 4">
            <a:extLst>
              <a:ext uri="{FF2B5EF4-FFF2-40B4-BE49-F238E27FC236}">
                <a16:creationId xmlns:a16="http://schemas.microsoft.com/office/drawing/2014/main" id="{A3AC3489-A506-41EF-B0DD-559BD45F7A58}"/>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3938871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935834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A0DB28-C9BC-4A51-B21F-A5F83D9D3E64}"/>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5" name="Title 4"/>
          <p:cNvSpPr>
            <a:spLocks noGrp="1"/>
          </p:cNvSpPr>
          <p:nvPr>
            <p:ph type="title" hasCustomPrompt="1"/>
          </p:nvPr>
        </p:nvSpPr>
        <p:spPr>
          <a:xfrm>
            <a:off x="695325" y="2681103"/>
            <a:ext cx="3127881" cy="1495794"/>
          </a:xfrm>
          <a:prstGeom prst="rect">
            <a:avLst/>
          </a:prstGeom>
        </p:spPr>
        <p:txBody>
          <a:bodyPr anchor="ctr">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11" name="Footer Placeholder 4">
            <a:extLst>
              <a:ext uri="{FF2B5EF4-FFF2-40B4-BE49-F238E27FC236}">
                <a16:creationId xmlns:a16="http://schemas.microsoft.com/office/drawing/2014/main" id="{57079B08-A88D-408E-A4FB-63466C5C3EF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3470949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8828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09A520-7CEC-426E-B2CA-4F5F2C211A2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bwMode="blackWhite">
          <a:xfrm>
            <a:off x="695325" y="3826800"/>
            <a:ext cx="10764836" cy="2041200"/>
          </a:xfrm>
        </p:spPr>
        <p:txBody>
          <a:bodyPr anchor="t">
            <a:noAutofit/>
          </a:bodyPr>
          <a:lstStyle>
            <a:lvl1pPr>
              <a:defRPr sz="5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95325" y="3680016"/>
            <a:ext cx="1149326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70A1375A-DCBE-477B-889E-0977C65F1BB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4124934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807879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60"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F16EF6E-2943-4A67-952E-1123FA7CB4D7}"/>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6"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5870679"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endParaRPr lang="ar-SA"/>
          </a:p>
        </p:txBody>
      </p:sp>
      <p:sp>
        <p:nvSpPr>
          <p:cNvPr id="23" name="TextBox 2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grpSp>
        <p:nvGrpSpPr>
          <p:cNvPr id="67" name="Group 66"/>
          <p:cNvGrpSpPr/>
          <p:nvPr userDrawn="1"/>
        </p:nvGrpSpPr>
        <p:grpSpPr>
          <a:xfrm>
            <a:off x="397420" y="550751"/>
            <a:ext cx="462459" cy="576905"/>
            <a:chOff x="324330" y="590555"/>
            <a:chExt cx="608641" cy="759263"/>
          </a:xfrm>
        </p:grpSpPr>
        <p:sp>
          <p:nvSpPr>
            <p:cNvPr id="68" name="Parallelogram 67"/>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69" name="Rectangle 68"/>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DIN Next LT Arabic" panose="020B0503020203050203" pitchFamily="34" charset="-78"/>
                <a:cs typeface="DIN Next LT Arabic" panose="020B0503020203050203" pitchFamily="34" charset="-78"/>
                <a:sym typeface="Arial" panose="020B0604020202020204" pitchFamily="34" charset="0"/>
              </a:endParaRPr>
            </a:p>
          </p:txBody>
        </p:sp>
      </p:grpSp>
      <p:sp>
        <p:nvSpPr>
          <p:cNvPr id="13" name="Footer Placeholder 4">
            <a:extLst>
              <a:ext uri="{FF2B5EF4-FFF2-40B4-BE49-F238E27FC236}">
                <a16:creationId xmlns:a16="http://schemas.microsoft.com/office/drawing/2014/main" id="{B5561E72-799C-47D6-8F43-2823139F310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3000035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773048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84"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F937071-16F6-49D0-8637-D169075F0F0E}"/>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8"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7695733"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endParaRPr lang="ar-SA"/>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3"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grpSp>
        <p:nvGrpSpPr>
          <p:cNvPr id="67" name="Group 66"/>
          <p:cNvGrpSpPr/>
          <p:nvPr userDrawn="1"/>
        </p:nvGrpSpPr>
        <p:grpSpPr>
          <a:xfrm>
            <a:off x="397420" y="550751"/>
            <a:ext cx="462459" cy="576905"/>
            <a:chOff x="324330" y="590555"/>
            <a:chExt cx="608641" cy="759263"/>
          </a:xfrm>
        </p:grpSpPr>
        <p:sp>
          <p:nvSpPr>
            <p:cNvPr id="68" name="Parallelogram 67"/>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69" name="Rectangle 68"/>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DIN Next LT Arabic" panose="020B0503020203050203" pitchFamily="34" charset="-78"/>
                <a:cs typeface="DIN Next LT Arabic" panose="020B0503020203050203" pitchFamily="34" charset="-78"/>
                <a:sym typeface="Arial" panose="020B0604020202020204" pitchFamily="34" charset="0"/>
              </a:endParaRPr>
            </a:p>
          </p:txBody>
        </p:sp>
      </p:grpSp>
      <p:sp>
        <p:nvSpPr>
          <p:cNvPr id="13" name="Footer Placeholder 4">
            <a:extLst>
              <a:ext uri="{FF2B5EF4-FFF2-40B4-BE49-F238E27FC236}">
                <a16:creationId xmlns:a16="http://schemas.microsoft.com/office/drawing/2014/main" id="{0DBECB86-27DD-4597-AFC5-6FD277B0963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11697596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979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0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B0258A4-73B9-4C1E-A4CB-001C7774026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50000">
                <a:srgbClr val="FF6633"/>
              </a:gs>
              <a:gs pos="0">
                <a:srgbClr val="FDBD4D"/>
              </a:gs>
              <a:gs pos="100000">
                <a:srgbClr val="273370"/>
              </a:gs>
            </a:gsLst>
            <a:lin ang="8100000" scaled="0"/>
          </a:gradFill>
          <a:ln w="1079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FFFFFF"/>
              </a:solidFill>
              <a:effectLst/>
              <a:uLnTx/>
              <a:uFillTx/>
              <a:latin typeface="DIN Next LT Arabic" panose="020B0503020203050203" pitchFamily="34" charset="-78"/>
              <a:cs typeface="DIN Next LT Arabic" panose="020B0503020203050203" pitchFamily="34" charset="-78"/>
              <a:sym typeface="Arial" panose="020B0604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695325" y="512763"/>
            <a:ext cx="6191475" cy="909637"/>
          </a:xfrm>
        </p:spPr>
        <p:txBody>
          <a:bodyPr lIns="0" tIns="0" rIns="0" bIns="0" anchor="t" anchorCtr="0">
            <a:noAutofit/>
          </a:bodyPr>
          <a:lstStyle>
            <a:lvl1pPr>
              <a:defRPr sz="3400">
                <a:solidFill>
                  <a:srgbClr val="FFFFFF"/>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endParaRPr lang="ar-SA"/>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28FD4921-A06A-4B9C-A2E5-6B875F7A0CE2}"/>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1330645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465133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3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04C449-08C3-4D76-B123-D2CF2903CE5B}"/>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95325" y="1785600"/>
            <a:ext cx="4388400" cy="3286800"/>
          </a:xfrm>
          <a:prstGeom prst="rect">
            <a:avLst/>
          </a:prstGeom>
          <a:noFill/>
        </p:spPr>
        <p:txBody>
          <a:bodyPr wrap="square" lIns="0" tIns="0" rIns="320040" bIns="0" anchor="ctr">
            <a:noAutofit/>
          </a:bodyPr>
          <a:lstStyle>
            <a:lvl1pPr>
              <a:defRPr sz="4400">
                <a:solidFill>
                  <a:schemeClr val="bg1"/>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14" name="Footer Placeholder 4">
            <a:extLst>
              <a:ext uri="{FF2B5EF4-FFF2-40B4-BE49-F238E27FC236}">
                <a16:creationId xmlns:a16="http://schemas.microsoft.com/office/drawing/2014/main" id="{0FC45F85-C8B5-4ACD-9DA5-8AE13108572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26786245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7174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5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D4C3107-4412-41E1-813C-6AFC8D21638D}"/>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5" name="Title 1"/>
          <p:cNvSpPr>
            <a:spLocks noGrp="1"/>
          </p:cNvSpPr>
          <p:nvPr>
            <p:ph type="title" hasCustomPrompt="1"/>
          </p:nvPr>
        </p:nvSpPr>
        <p:spPr bwMode="black">
          <a:xfrm>
            <a:off x="695325" y="1785600"/>
            <a:ext cx="6247552" cy="3286800"/>
          </a:xfrm>
          <a:prstGeom prst="rect">
            <a:avLst/>
          </a:prstGeom>
        </p:spPr>
        <p:txBody>
          <a:bodyPr anchor="ctr">
            <a:noAutofit/>
          </a:bodyPr>
          <a:lstStyle>
            <a:lvl1pPr>
              <a:defRPr sz="4400">
                <a:solidFill>
                  <a:schemeClr val="bg1"/>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title</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13" name="Footer Placeholder 4">
            <a:extLst>
              <a:ext uri="{FF2B5EF4-FFF2-40B4-BE49-F238E27FC236}">
                <a16:creationId xmlns:a16="http://schemas.microsoft.com/office/drawing/2014/main" id="{1C2617A8-F868-4DAB-9699-EA6828B5BDE2}"/>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787454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1131208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80" name="think-cell Slide" r:id="rId6" imgW="352" imgH="355" progId="TCLayout.ActiveDocument.1">
                  <p:embed/>
                </p:oleObj>
              </mc:Choice>
              <mc:Fallback>
                <p:oleObj name="think-cell Slide" r:id="rId6" imgW="352" imgH="355"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7753F9-F39C-4B13-917D-DD2415153001}"/>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8" name="Title 1"/>
          <p:cNvSpPr>
            <a:spLocks noGrp="1"/>
          </p:cNvSpPr>
          <p:nvPr>
            <p:ph type="title" hasCustomPrompt="1"/>
          </p:nvPr>
        </p:nvSpPr>
        <p:spPr>
          <a:xfrm>
            <a:off x="695325" y="3826333"/>
            <a:ext cx="10764836"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big statement text</a:t>
            </a:r>
          </a:p>
        </p:txBody>
      </p:sp>
      <p:sp>
        <p:nvSpPr>
          <p:cNvPr id="11" name="TextBox 10"/>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2"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344F081F-DFD4-4E2E-9056-89696760EC05}"/>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3602059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1995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0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EF0D14-F75B-4E98-A66F-85C6DA42089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6" name="Rectangle 5"/>
          <p:cNvSpPr/>
          <p:nvPr userDrawn="1"/>
        </p:nvSpPr>
        <p:spPr bwMode="white">
          <a:xfrm>
            <a:off x="695325"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rgbClr val="273370">
                  <a:lumMod val="100000"/>
                </a:srgbClr>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7" name="Title 1"/>
          <p:cNvSpPr>
            <a:spLocks noGrp="1"/>
          </p:cNvSpPr>
          <p:nvPr>
            <p:ph type="title" hasCustomPrompt="1"/>
          </p:nvPr>
        </p:nvSpPr>
        <p:spPr>
          <a:xfrm>
            <a:off x="695325" y="3826333"/>
            <a:ext cx="10764836"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Click to add big statement text</a:t>
            </a:r>
          </a:p>
        </p:txBody>
      </p:sp>
      <p:sp>
        <p:nvSpPr>
          <p:cNvPr id="13"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8" name="Footer Placeholder 4">
            <a:extLst>
              <a:ext uri="{FF2B5EF4-FFF2-40B4-BE49-F238E27FC236}">
                <a16:creationId xmlns:a16="http://schemas.microsoft.com/office/drawing/2014/main" id="{DC5B5F85-037A-4505-9EC5-C5E020D4EFB7}"/>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3942435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810506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0" name="TextBox 19"/>
          <p:cNvSpPr txBox="1"/>
          <p:nvPr userDrawn="1"/>
        </p:nvSpPr>
        <p:spPr>
          <a:xfrm>
            <a:off x="695325" y="3052166"/>
            <a:ext cx="2819400" cy="81330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DIN Next LT Arabic" panose="020B0503020203050203" pitchFamily="34" charset="-78"/>
                <a:ea typeface="+mn-ea"/>
                <a:cs typeface="DIN Next LT Arabic" panose="020B0503020203050203" pitchFamily="34" charset="-78"/>
                <a:sym typeface="Arial" panose="020B0604020202020204" pitchFamily="34" charset="0"/>
              </a:rPr>
              <a:t>Agenda</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1823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7406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Isosceles Triangle 9"/>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DIN Next LT Arabic" panose="020B0503020203050203" pitchFamily="34" charset="-78"/>
              <a:cs typeface="DIN Next LT Arabic" panose="020B0503020203050203" pitchFamily="34" charset="-78"/>
              <a:sym typeface="Arial" panose="020B0604020202020204" pitchFamily="34" charset="0"/>
            </a:endParaRPr>
          </a:p>
        </p:txBody>
      </p:sp>
      <p:pic>
        <p:nvPicPr>
          <p:cNvPr id="11" name="Picture 10">
            <a:extLst>
              <a:ext uri="{FF2B5EF4-FFF2-40B4-BE49-F238E27FC236}">
                <a16:creationId xmlns:a16="http://schemas.microsoft.com/office/drawing/2014/main" id="{DFDDE4B7-1CAB-C84F-90FD-9F68D636888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ar-KW" sz="11500">
                <a:latin typeface="DIN Next LT Arabic" panose="020B0503020203050203" pitchFamily="34" charset="-78"/>
                <a:cs typeface="DIN Next LT Arabic" panose="020B0503020203050203" pitchFamily="34" charset="-78"/>
              </a:rPr>
              <a:t>شكرا لكم</a:t>
            </a:r>
            <a:endParaRPr lang="en-US" sz="11500" b="0">
              <a:latin typeface="DIN Next LT Arabic" panose="020B0503020203050203" pitchFamily="34" charset="-78"/>
              <a:cs typeface="DIN Next LT Arabic" panose="020B0503020203050203" pitchFamily="34" charset="-78"/>
              <a:sym typeface="Arial" panose="020B0604020202020204" pitchFamily="34" charset="0"/>
            </a:endParaRPr>
          </a:p>
        </p:txBody>
      </p:sp>
    </p:spTree>
    <p:extLst>
      <p:ext uri="{BB962C8B-B14F-4D97-AF65-F5344CB8AC3E}">
        <p14:creationId xmlns:p14="http://schemas.microsoft.com/office/powerpoint/2010/main" val="942569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ocket">
    <p:bg>
      <p:bgPr>
        <a:solidFill>
          <a:schemeClr val="bg1"/>
        </a:solidFill>
        <a:effectLst/>
      </p:bgPr>
    </p:bg>
    <p:spTree>
      <p:nvGrpSpPr>
        <p:cNvPr id="1" name=""/>
        <p:cNvGrpSpPr/>
        <p:nvPr/>
      </p:nvGrpSpPr>
      <p:grpSpPr>
        <a:xfrm>
          <a:off x="0" y="0"/>
          <a:ext cx="0" cy="0"/>
          <a:chOff x="0" y="0"/>
          <a:chExt cx="0" cy="0"/>
        </a:xfrm>
      </p:grpSpPr>
      <p:pic>
        <p:nvPicPr>
          <p:cNvPr id="12" name="Picture 2" descr="Related image">
            <a:extLst>
              <a:ext uri="{FF2B5EF4-FFF2-40B4-BE49-F238E27FC236}">
                <a16:creationId xmlns:a16="http://schemas.microsoft.com/office/drawing/2014/main" id="{2CA4B35C-9310-4F50-A6EE-59B08C2BB511}"/>
              </a:ext>
            </a:extLst>
          </p:cNvPr>
          <p:cNvPicPr>
            <a:picLocks noChangeAspect="1" noChangeArrowheads="1"/>
          </p:cNvPicPr>
          <p:nvPr userDrawn="1"/>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l="17312" b="1735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C473FD08-1A0E-43A7-9E7C-FD0A80421B85}"/>
              </a:ext>
            </a:extLst>
          </p:cNvPr>
          <p:cNvSpPr/>
          <p:nvPr userDrawn="1"/>
        </p:nvSpPr>
        <p:spPr>
          <a:xfrm>
            <a:off x="0" y="0"/>
            <a:ext cx="12192000" cy="6858000"/>
          </a:xfrm>
          <a:prstGeom prst="rect">
            <a:avLst/>
          </a:prstGeom>
          <a:solidFill>
            <a:schemeClr val="bg1">
              <a:alpha val="51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DIN Next LT Arabic" panose="020B0503020203050203" pitchFamily="34" charset="-78"/>
              <a:cs typeface="DIN Next LT Arabic" panose="020B0503020203050203" pitchFamily="34" charset="-78"/>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47170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6"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grpSp>
        <p:nvGrpSpPr>
          <p:cNvPr id="9" name="Group 8"/>
          <p:cNvGrpSpPr/>
          <p:nvPr userDrawn="1"/>
        </p:nvGrpSpPr>
        <p:grpSpPr>
          <a:xfrm>
            <a:off x="293898" y="558343"/>
            <a:ext cx="669505" cy="835189"/>
            <a:chOff x="324330" y="584804"/>
            <a:chExt cx="608641" cy="759263"/>
          </a:xfrm>
        </p:grpSpPr>
        <p:sp>
          <p:nvSpPr>
            <p:cNvPr id="10" name="Parallelogram 9"/>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Rectangle 10"/>
            <p:cNvSpPr/>
            <p:nvPr/>
          </p:nvSpPr>
          <p:spPr>
            <a:xfrm rot="8954161" flipH="1" flipV="1">
              <a:off x="324330" y="904674"/>
              <a:ext cx="608641" cy="112731"/>
            </a:xfrm>
            <a:prstGeom prst="rect">
              <a:avLst/>
            </a:prstGeom>
            <a:solidFill>
              <a:srgbClr val="E9E9E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gr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Tree>
    <p:extLst>
      <p:ext uri="{BB962C8B-B14F-4D97-AF65-F5344CB8AC3E}">
        <p14:creationId xmlns:p14="http://schemas.microsoft.com/office/powerpoint/2010/main" val="25897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55494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12507-129C-4183-8806-06ACE8BDAEC3}"/>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rgbClr val="273370">
                  <a:lumMod val="100000"/>
                </a:srgbClr>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9" name="Footer Placeholder 4">
            <a:extLst>
              <a:ext uri="{FF2B5EF4-FFF2-40B4-BE49-F238E27FC236}">
                <a16:creationId xmlns:a16="http://schemas.microsoft.com/office/drawing/2014/main" id="{32062484-948A-4BC3-865B-7BEABC001836}"/>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4270848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DIN Next LT Arabic" panose="020B0503020203050203" pitchFamily="34" charset="-78"/>
                <a:ea typeface="Verdana" panose="020B0604030504040204" pitchFamily="34" charset="0"/>
                <a:cs typeface="DIN Next LT Arabic" panose="020B0503020203050203" pitchFamily="34" charset="-78"/>
              </a:defRPr>
            </a:lvl1pPr>
          </a:lstStyle>
          <a:p>
            <a:r>
              <a:rPr lang="en-US" noProof="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6006" y="1333501"/>
            <a:ext cx="11134586" cy="4741863"/>
          </a:xfrm>
          <a:prstGeom prst="rect">
            <a:avLst/>
          </a:prstGeom>
        </p:spPr>
        <p:txBody>
          <a:bodyPr/>
          <a:lstStyle>
            <a:lvl1pPr marL="231752" indent="-231752" algn="l" defTabSz="914309" rtl="0" eaLnBrk="1" latinLnBrk="0" hangingPunct="1">
              <a:lnSpc>
                <a:spcPct val="120000"/>
              </a:lnSpc>
              <a:spcBef>
                <a:spcPts val="1000"/>
              </a:spcBef>
              <a:buClr>
                <a:schemeClr val="accent4"/>
              </a:buClr>
              <a:buSzPct val="100000"/>
              <a:buFont typeface="Verdana" panose="020B0604030504040204" pitchFamily="34" charset="0"/>
              <a:buChar char="●"/>
              <a:defRPr lang="en-US" sz="1400" kern="1200" baseline="0" dirty="0" smtClean="0">
                <a:solidFill>
                  <a:sysClr val="windowText" lastClr="000000"/>
                </a:solidFill>
                <a:latin typeface="DIN Next LT Arabic" panose="020B0503020203050203" pitchFamily="34" charset="-78"/>
                <a:ea typeface="Verdana" panose="020B0604030504040204" pitchFamily="34" charset="0"/>
                <a:cs typeface="DIN Next LT Arabic" panose="020B0503020203050203" pitchFamily="34" charset="-78"/>
              </a:defRPr>
            </a:lvl1pPr>
            <a:lvl2pPr marL="631790" indent="-285750" algn="l" defTabSz="914309" rtl="0" eaLnBrk="1" latinLnBrk="0" hangingPunct="1">
              <a:lnSpc>
                <a:spcPct val="120000"/>
              </a:lnSpc>
              <a:defRPr lang="en-US" sz="1400" kern="1200" dirty="0" smtClean="0">
                <a:solidFill>
                  <a:sysClr val="windowText" lastClr="000000"/>
                </a:solidFill>
                <a:latin typeface="DIN Next LT Arabic" panose="020B0503020203050203" pitchFamily="34" charset="-78"/>
                <a:ea typeface="Verdana" panose="020B0604030504040204" pitchFamily="34" charset="0"/>
                <a:cs typeface="DIN Next LT Arabic" panose="020B0503020203050203" pitchFamily="34" charset="-78"/>
              </a:defRPr>
            </a:lvl2pPr>
            <a:lvl3pPr marL="968307" indent="-285750" algn="l" defTabSz="914309" rtl="0" eaLnBrk="1" latinLnBrk="0" hangingPunct="1">
              <a:lnSpc>
                <a:spcPct val="120000"/>
              </a:lnSpc>
              <a:defRPr lang="en-US" sz="1400" kern="1200" dirty="0" smtClean="0">
                <a:solidFill>
                  <a:sysClr val="windowText" lastClr="000000"/>
                </a:solidFill>
                <a:latin typeface="DIN Next LT Arabic" panose="020B0503020203050203" pitchFamily="34" charset="-78"/>
                <a:ea typeface="Verdana" panose="020B0604030504040204" pitchFamily="34" charset="0"/>
                <a:cs typeface="DIN Next LT Arabic" panose="020B0503020203050203" pitchFamily="34" charset="-78"/>
              </a:defRPr>
            </a:lvl3pPr>
            <a:lvl4pPr marL="1315934" indent="-285750" algn="l" defTabSz="914309" rtl="0" eaLnBrk="1" latinLnBrk="0" hangingPunct="1">
              <a:lnSpc>
                <a:spcPct val="120000"/>
              </a:lnSpc>
              <a:defRPr lang="en-US" sz="1400" kern="1200" dirty="0" smtClean="0">
                <a:solidFill>
                  <a:sysClr val="windowText" lastClr="000000"/>
                </a:solidFill>
                <a:latin typeface="DIN Next LT Arabic" panose="020B0503020203050203" pitchFamily="34" charset="-78"/>
                <a:ea typeface="Verdana" panose="020B0604030504040204" pitchFamily="34" charset="0"/>
                <a:cs typeface="DIN Next LT Arabic" panose="020B0503020203050203" pitchFamily="34" charset="-78"/>
              </a:defRPr>
            </a:lvl4pPr>
            <a:lvl5pPr marL="1661974" indent="-285750" algn="l" defTabSz="914309" rtl="0" eaLnBrk="1" latinLnBrk="0" hangingPunct="1">
              <a:lnSpc>
                <a:spcPct val="120000"/>
              </a:lnSpc>
              <a:defRPr lang="en-US" sz="1400" kern="1200" dirty="0">
                <a:solidFill>
                  <a:sysClr val="windowText" lastClr="000000"/>
                </a:solidFill>
                <a:latin typeface="DIN Next LT Arabic" panose="020B0503020203050203" pitchFamily="34" charset="-78"/>
                <a:ea typeface="Verdana" panose="020B0604030504040204" pitchFamily="34" charset="0"/>
                <a:cs typeface="DIN Next LT Arabic" panose="020B0503020203050203" pitchFamily="34" charset="-78"/>
              </a:defRPr>
            </a:lvl5pPr>
          </a:lstStyle>
          <a:p>
            <a:pPr lvl="0"/>
            <a:r>
              <a:rPr lang="en-US">
                <a:solidFill>
                  <a:sysClr val="windowText" lastClr="000000"/>
                </a:solidFill>
              </a:rPr>
              <a:t>Level 1</a:t>
            </a:r>
            <a:endParaRPr lang="en-US"/>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a:t>Fifth level</a:t>
            </a:r>
          </a:p>
        </p:txBody>
      </p:sp>
    </p:spTree>
    <p:extLst>
      <p:ext uri="{BB962C8B-B14F-4D97-AF65-F5344CB8AC3E}">
        <p14:creationId xmlns:p14="http://schemas.microsoft.com/office/powerpoint/2010/main" val="1042474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40429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0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a:stretch>
            <a:fillRect/>
          </a:stretch>
        </p:blipFill>
        <p:spPr>
          <a:xfrm>
            <a:off x="0" y="-8708"/>
            <a:ext cx="12192000" cy="6858000"/>
          </a:xfrm>
          <a:prstGeom prst="rect">
            <a:avLst/>
          </a:prstGeom>
        </p:spPr>
      </p:pic>
      <p:sp>
        <p:nvSpPr>
          <p:cNvPr id="7" name="Isosceles Triangle 6"/>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mj-lt"/>
              <a:cs typeface="Arial" panose="020B0604020202020204" pitchFamily="34" charset="0"/>
              <a:sym typeface="Arial" panose="020B0604020202020204" pitchFamily="34" charset="0"/>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userDrawn="1"/>
        </p:nvPicPr>
        <p:blipFill>
          <a:blip r:embed="rId7"/>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0">
                <a:latin typeface="+mj-lt"/>
                <a:cs typeface="Arial" panose="020B0604020202020204" pitchFamily="34" charset="0"/>
                <a:sym typeface="Arial" panose="020B0604020202020204" pitchFamily="34" charset="0"/>
              </a:rPr>
              <a:t>Thank you</a:t>
            </a:r>
          </a:p>
        </p:txBody>
      </p:sp>
    </p:spTree>
    <p:extLst>
      <p:ext uri="{BB962C8B-B14F-4D97-AF65-F5344CB8AC3E}">
        <p14:creationId xmlns:p14="http://schemas.microsoft.com/office/powerpoint/2010/main" val="2794633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38776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2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2"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10424310" cy="909637"/>
          </a:xfrm>
        </p:spPr>
        <p:txBody>
          <a:bodyPr lIns="0" tIns="0" rIns="0" bIns="0" anchor="t" anchorCtr="0">
            <a:noAutofit/>
          </a:bodyPr>
          <a:lstStyle>
            <a:lvl1pPr rtl="0">
              <a:defRPr sz="3400">
                <a:solidFill>
                  <a:schemeClr val="tx1"/>
                </a:solidFill>
                <a:latin typeface="+mj-lt"/>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20" name="Date Placeholder 2"/>
          <p:cNvSpPr>
            <a:spLocks noGrp="1"/>
          </p:cNvSpPr>
          <p:nvPr>
            <p:ph type="dt" sz="half" idx="10"/>
          </p:nvPr>
        </p:nvSpPr>
        <p:spPr>
          <a:xfrm>
            <a:off x="9677400" y="6461970"/>
            <a:ext cx="1482051" cy="153888"/>
          </a:xfrm>
          <a:prstGeom prst="rect">
            <a:avLst/>
          </a:prstGeom>
        </p:spPr>
        <p:txBody>
          <a:bodyPr/>
          <a:lstStyle>
            <a:lvl1pPr>
              <a:defRPr>
                <a:solidFill>
                  <a:srgbClr val="8C8C8C"/>
                </a:solidFill>
                <a:latin typeface="+mj-lt"/>
                <a:ea typeface="+mn-ea"/>
                <a:cs typeface="Arial" panose="020B0604020202020204" pitchFamily="34" charset="0"/>
                <a:sym typeface="Arial" panose="020B0604020202020204" pitchFamily="34" charset="0"/>
              </a:defRPr>
            </a:lvl1pPr>
          </a:lstStyle>
          <a:p>
            <a:endParaRPr lang="en-US"/>
          </a:p>
        </p:txBody>
      </p:sp>
      <p:grpSp>
        <p:nvGrpSpPr>
          <p:cNvPr id="9" name="Group 8"/>
          <p:cNvGrpSpPr/>
          <p:nvPr userDrawn="1"/>
        </p:nvGrpSpPr>
        <p:grpSpPr>
          <a:xfrm>
            <a:off x="293898" y="558343"/>
            <a:ext cx="669505" cy="835189"/>
            <a:chOff x="324330" y="584804"/>
            <a:chExt cx="608641" cy="759263"/>
          </a:xfrm>
        </p:grpSpPr>
        <p:sp>
          <p:nvSpPr>
            <p:cNvPr id="10" name="Parallelogram 9"/>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j-lt"/>
                <a:ea typeface="+mn-ea"/>
                <a:cs typeface="Arial" panose="020B0604020202020204" pitchFamily="34" charset="0"/>
                <a:sym typeface="Arial" panose="020B0604020202020204" pitchFamily="34" charset="0"/>
              </a:endParaRPr>
            </a:p>
          </p:txBody>
        </p:sp>
        <p:sp>
          <p:nvSpPr>
            <p:cNvPr id="11" name="Rectangle 10"/>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j-lt"/>
                <a:ea typeface="+mn-ea"/>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660588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27636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7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cs typeface="DIN Next LT Arabic Light" panose="020B0303020203050203" pitchFamily="34" charset="-78"/>
              <a:sym typeface="Arial" panose="020B0604020202020204" pitchFamily="34" charset="0"/>
            </a:endParaRPr>
          </a:p>
        </p:txBody>
      </p:sp>
      <p:pic>
        <p:nvPicPr>
          <p:cNvPr id="15" name="Picture 14">
            <a:extLst>
              <a:ext uri="{FF2B5EF4-FFF2-40B4-BE49-F238E27FC236}">
                <a16:creationId xmlns:a16="http://schemas.microsoft.com/office/drawing/2014/main" id="{EBF23693-6400-413E-9D88-6EFA98092D82}"/>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4204898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132233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9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312026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7" name="Isosceles Triangle 6"/>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DIN Next LT Arabic Light" panose="020B0303020203050203" pitchFamily="34" charset="-78"/>
            </a:endParaRPr>
          </a:p>
        </p:txBody>
      </p:sp>
      <p:pic>
        <p:nvPicPr>
          <p:cNvPr id="10" name="Picture 9">
            <a:extLst>
              <a:ext uri="{FF2B5EF4-FFF2-40B4-BE49-F238E27FC236}">
                <a16:creationId xmlns:a16="http://schemas.microsoft.com/office/drawing/2014/main" id="{DFDDE4B7-1CAB-C84F-90FD-9F68D636888D}"/>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695325" y="2431688"/>
            <a:ext cx="6700559" cy="199462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r>
              <a:rPr lang="en-US" sz="6000" b="1">
                <a:latin typeface="DIN Next LT Arabic" panose="020B0503020203050203" pitchFamily="34" charset="-78"/>
                <a:cs typeface="DIN Next LT Arabic" panose="020B0503020203050203" pitchFamily="34" charset="-78"/>
              </a:rPr>
              <a:t>Thank you</a:t>
            </a:r>
          </a:p>
        </p:txBody>
      </p:sp>
    </p:spTree>
    <p:extLst>
      <p:ext uri="{BB962C8B-B14F-4D97-AF65-F5344CB8AC3E}">
        <p14:creationId xmlns:p14="http://schemas.microsoft.com/office/powerpoint/2010/main" val="3680560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89820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4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t>Copyright © 2020 by Boston Consulting Group. All rights reserved.</a:t>
            </a:r>
          </a:p>
        </p:txBody>
      </p:sp>
      <p:sp>
        <p:nvSpPr>
          <p:cNvPr id="12" name="Freeform: Shape 11">
            <a:extLst>
              <a:ext uri="{FF2B5EF4-FFF2-40B4-BE49-F238E27FC236}">
                <a16:creationId xmlns:a16="http://schemas.microsoft.com/office/drawing/2014/main" id="{FA100816-2B30-45A7-BC4F-E3605D556D42}"/>
              </a:ext>
            </a:extLst>
          </p:cNvPr>
          <p:cNvSpPr/>
          <p:nvPr/>
        </p:nvSpPr>
        <p:spPr>
          <a:xfrm rot="5400000">
            <a:off x="211055" y="785138"/>
            <a:ext cx="835189" cy="381601"/>
          </a:xfrm>
          <a:custGeom>
            <a:avLst/>
            <a:gdLst>
              <a:gd name="connsiteX0" fmla="*/ 372437 w 835189"/>
              <a:gd name="connsiteY0" fmla="*/ 0 h 381601"/>
              <a:gd name="connsiteX1" fmla="*/ 835189 w 835189"/>
              <a:gd name="connsiteY1" fmla="*/ 0 h 381601"/>
              <a:gd name="connsiteX2" fmla="*/ 605675 w 835189"/>
              <a:gd name="connsiteY2" fmla="*/ 381601 h 381601"/>
              <a:gd name="connsiteX3" fmla="*/ 599592 w 835189"/>
              <a:gd name="connsiteY3" fmla="*/ 381601 h 381601"/>
              <a:gd name="connsiteX4" fmla="*/ 0 w 835189"/>
              <a:gd name="connsiteY4" fmla="*/ 381601 h 381601"/>
              <a:gd name="connsiteX5" fmla="*/ 228816 w 835189"/>
              <a:gd name="connsiteY5" fmla="*/ 1160 h 381601"/>
              <a:gd name="connsiteX6" fmla="*/ 455280 w 835189"/>
              <a:gd name="connsiteY6" fmla="*/ 381601 h 38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189" h="381601">
                <a:moveTo>
                  <a:pt x="372437" y="0"/>
                </a:moveTo>
                <a:lnTo>
                  <a:pt x="835189" y="0"/>
                </a:lnTo>
                <a:lnTo>
                  <a:pt x="605675" y="381601"/>
                </a:lnTo>
                <a:lnTo>
                  <a:pt x="599592" y="381601"/>
                </a:lnTo>
                <a:close/>
                <a:moveTo>
                  <a:pt x="0" y="381601"/>
                </a:moveTo>
                <a:lnTo>
                  <a:pt x="228816" y="1160"/>
                </a:lnTo>
                <a:lnTo>
                  <a:pt x="455280" y="381601"/>
                </a:lnTo>
                <a:close/>
              </a:path>
            </a:pathLst>
          </a:cu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22" name="Content Placeholder 21">
            <a:extLst>
              <a:ext uri="{FF2B5EF4-FFF2-40B4-BE49-F238E27FC236}">
                <a16:creationId xmlns:a16="http://schemas.microsoft.com/office/drawing/2014/main" id="{F6C1A4ED-70FA-4459-A304-53D86508D8FB}"/>
              </a:ext>
            </a:extLst>
          </p:cNvPr>
          <p:cNvSpPr>
            <a:spLocks noGrp="1"/>
          </p:cNvSpPr>
          <p:nvPr userDrawn="1">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cs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userDrawn="1">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14" name="TextBox 13">
            <a:extLst>
              <a:ext uri="{FF2B5EF4-FFF2-40B4-BE49-F238E27FC236}">
                <a16:creationId xmlns:a16="http://schemas.microsoft.com/office/drawing/2014/main" id="{E12261B6-4AA5-4574-B062-B94736FD9B8A}"/>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5" name="Footer Placeholder 4">
            <a:extLst>
              <a:ext uri="{FF2B5EF4-FFF2-40B4-BE49-F238E27FC236}">
                <a16:creationId xmlns:a16="http://schemas.microsoft.com/office/drawing/2014/main" id="{4AC0F3E8-7DCB-45D2-9484-2D1F15302CF1}"/>
              </a:ext>
            </a:extLst>
          </p:cNvPr>
          <p:cNvSpPr>
            <a:spLocks noGrp="1"/>
          </p:cNvSpPr>
          <p:nvPr userDrawn="1">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449627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36268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69"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313145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649181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9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defRPr>
            </a:lvl1pPr>
          </a:lstStyle>
          <a:p>
            <a:endParaRPr lang="en-US"/>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me</a:t>
            </a:r>
          </a:p>
        </p:txBody>
      </p:sp>
    </p:spTree>
    <p:extLst>
      <p:ext uri="{BB962C8B-B14F-4D97-AF65-F5344CB8AC3E}">
        <p14:creationId xmlns:p14="http://schemas.microsoft.com/office/powerpoint/2010/main" val="26869071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6193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45233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263924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8"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7BAC85-A7A7-4960-97E0-1917DD42A2F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3"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grpSp>
        <p:nvGrpSpPr>
          <p:cNvPr id="66" name="Group 65"/>
          <p:cNvGrpSpPr/>
          <p:nvPr userDrawn="1"/>
        </p:nvGrpSpPr>
        <p:grpSpPr>
          <a:xfrm>
            <a:off x="397420" y="550751"/>
            <a:ext cx="462459" cy="576905"/>
            <a:chOff x="324330" y="590555"/>
            <a:chExt cx="608641" cy="759263"/>
          </a:xfrm>
        </p:grpSpPr>
        <p:sp>
          <p:nvSpPr>
            <p:cNvPr id="67" name="Parallelogram 66"/>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err="1">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8" name="Rectangle 67"/>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11" name="Footer Placeholder 4">
            <a:extLst>
              <a:ext uri="{FF2B5EF4-FFF2-40B4-BE49-F238E27FC236}">
                <a16:creationId xmlns:a16="http://schemas.microsoft.com/office/drawing/2014/main" id="{E4445429-B723-42A9-B1C4-5E530DDA9A3B}"/>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
        <p:nvSpPr>
          <p:cNvPr id="15" name="Text Placeholder 3">
            <a:extLst>
              <a:ext uri="{FF2B5EF4-FFF2-40B4-BE49-F238E27FC236}">
                <a16:creationId xmlns:a16="http://schemas.microsoft.com/office/drawing/2014/main" id="{8E7414D5-490B-4BB7-8FC7-26F1A91E306B}"/>
              </a:ext>
            </a:extLst>
          </p:cNvPr>
          <p:cNvSpPr>
            <a:spLocks noGrp="1"/>
          </p:cNvSpPr>
          <p:nvPr>
            <p:ph idx="1" hasCustomPrompt="1"/>
          </p:nvPr>
        </p:nvSpPr>
        <p:spPr>
          <a:xfrm>
            <a:off x="695325" y="1959430"/>
            <a:ext cx="10764836" cy="3978184"/>
          </a:xfrm>
          <a:prstGeom prst="rect">
            <a:avLst/>
          </a:prstGeom>
        </p:spPr>
        <p:txBody>
          <a:bodyPr vert="horz" lIns="0" tIns="0" rIns="0" bIns="0" rtlCol="0">
            <a:noAutofit/>
          </a:bodyPr>
          <a:lstStyle>
            <a:lvl1pPr>
              <a:defRPr sz="1400">
                <a:latin typeface="Arial" panose="020B0604020202020204" pitchFamily="34" charset="0"/>
                <a:ea typeface="+mn-ea"/>
                <a:cs typeface="Arial" panose="020B0604020202020204" pitchFamily="34" charset="0"/>
                <a:sym typeface="Arial" panose="020B0604020202020204" pitchFamily="34" charset="0"/>
              </a:defRPr>
            </a:lvl1pPr>
            <a:lvl2pPr>
              <a:defRPr sz="1400">
                <a:latin typeface="+mn-lt"/>
                <a:ea typeface="+mn-ea"/>
                <a:cs typeface="+mn-cs"/>
                <a:sym typeface="+mn-lt"/>
              </a:defRPr>
            </a:lvl2pPr>
            <a:lvl3pPr>
              <a:defRPr sz="1400">
                <a:latin typeface="+mn-lt"/>
                <a:ea typeface="+mn-ea"/>
                <a:cs typeface="+mn-cs"/>
                <a:sym typeface="+mn-lt"/>
              </a:defRPr>
            </a:lvl3pPr>
          </a:lstStyle>
          <a:p>
            <a:pPr lvl="0"/>
            <a:r>
              <a:rPr lang="en-US"/>
              <a:t>Edit Master text styles</a:t>
            </a:r>
          </a:p>
        </p:txBody>
      </p:sp>
    </p:spTree>
    <p:extLst>
      <p:ext uri="{BB962C8B-B14F-4D97-AF65-F5344CB8AC3E}">
        <p14:creationId xmlns:p14="http://schemas.microsoft.com/office/powerpoint/2010/main" val="389248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Body">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C4C6F5-C984-490A-8A24-D0871B6BF68E}"/>
              </a:ext>
            </a:extLst>
          </p:cNvPr>
          <p:cNvPicPr>
            <a:picLocks noChangeAspect="1"/>
          </p:cNvPicPr>
          <p:nvPr userDrawn="1"/>
        </p:nvPicPr>
        <p:blipFill>
          <a:blip r:embed="rId5">
            <a:alphaModFix amt="20000"/>
            <a:extLst>
              <a:ext uri="{28A0092B-C50C-407E-A947-70E740481C1C}">
                <a14:useLocalDpi xmlns:a14="http://schemas.microsoft.com/office/drawing/2010/main"/>
              </a:ext>
            </a:extLst>
          </a:blip>
          <a:stretch>
            <a:fillRect/>
          </a:stretch>
        </p:blipFill>
        <p:spPr>
          <a:xfrm>
            <a:off x="0" y="1954"/>
            <a:ext cx="12192000" cy="6854092"/>
          </a:xfrm>
          <a:prstGeom prst="rect">
            <a:avLst/>
          </a:prstGeom>
          <a:gradFill flip="none" rotWithShape="1">
            <a:gsLst>
              <a:gs pos="54000">
                <a:schemeClr val="accent3">
                  <a:lumMod val="75000"/>
                </a:schemeClr>
              </a:gs>
              <a:gs pos="0">
                <a:srgbClr val="FF6933"/>
              </a:gs>
            </a:gsLst>
            <a:lin ang="13500000" scaled="1"/>
            <a:tileRect/>
          </a:gradFill>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63186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40"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solidFill>
                  <a:schemeClr val="bg1"/>
                </a:solidFill>
                <a:latin typeface="DIN Next LT Arabic" panose="020B0503020203050203" pitchFamily="34" charset="-78"/>
              </a:defRPr>
            </a:lvl1pPr>
          </a:lstStyle>
          <a:p>
            <a:endParaRPr lang="en-US"/>
          </a:p>
        </p:txBody>
      </p:sp>
      <p:sp>
        <p:nvSpPr>
          <p:cNvPr id="9" name="TextBox 8">
            <a:extLst>
              <a:ext uri="{FF2B5EF4-FFF2-40B4-BE49-F238E27FC236}">
                <a16:creationId xmlns:a16="http://schemas.microsoft.com/office/drawing/2014/main" id="{23E70978-148F-482F-B755-B0B90E0D5FA7}"/>
              </a:ext>
            </a:extLst>
          </p:cNvPr>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DIN Next LT Arabic" panose="020B0503020203050203" pitchFamily="34" charset="-78"/>
              <a:ea typeface="+mn-ea"/>
              <a:cs typeface="DIN Next LT Arabic" panose="020B05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C63CA511-06C9-401F-BB6B-98198D8CACE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DIN Next LT Arabic" panose="020B0503020203050203" pitchFamily="34" charset="-78"/>
                <a:cs typeface="DIN Next LT Arabic" panose="020B0503020203050203" pitchFamily="34" charset="-78"/>
              </a:defRPr>
            </a:lvl1pPr>
          </a:lstStyle>
          <a:p>
            <a:r>
              <a:rPr lang="en-US"/>
              <a:t>NCAI | Activation Program</a:t>
            </a:r>
          </a:p>
        </p:txBody>
      </p:sp>
    </p:spTree>
    <p:extLst>
      <p:ext uri="{BB962C8B-B14F-4D97-AF65-F5344CB8AC3E}">
        <p14:creationId xmlns:p14="http://schemas.microsoft.com/office/powerpoint/2010/main" val="1612282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Bod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90048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6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618DF7-7DF7-4F51-8B0D-5726A9A13A4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DIN Next LT Arabic" panose="020B0503020203050203" pitchFamily="34" charset="-78"/>
                <a:ea typeface="+mn-ea"/>
                <a:cs typeface="DIN Next LT Arabic" panose="020B0503020203050203" pitchFamily="34" charset="-78"/>
                <a:sym typeface="Arial" panose="020B0604020202020204" pitchFamily="34" charset="0"/>
              </a:rPr>
              <a:t>Copyright © 2020 by Boston Consulting Group. All rights reserved.</a:t>
            </a:r>
          </a:p>
        </p:txBody>
      </p:sp>
      <p:sp>
        <p:nvSpPr>
          <p:cNvPr id="22" name="Content Placeholder 21">
            <a:extLst>
              <a:ext uri="{FF2B5EF4-FFF2-40B4-BE49-F238E27FC236}">
                <a16:creationId xmlns:a16="http://schemas.microsoft.com/office/drawing/2014/main" id="{F6C1A4ED-70FA-4459-A304-53D86508D8FB}"/>
              </a:ext>
            </a:extLst>
          </p:cNvPr>
          <p:cNvSpPr>
            <a:spLocks noGrp="1"/>
          </p:cNvSpPr>
          <p:nvPr>
            <p:ph sz="quarter" idx="10" hasCustomPrompt="1"/>
          </p:nvPr>
        </p:nvSpPr>
        <p:spPr>
          <a:xfrm>
            <a:off x="1035851" y="1192177"/>
            <a:ext cx="10424310" cy="457200"/>
          </a:xfrm>
        </p:spPr>
        <p:txBody>
          <a:bodyPr lIns="0">
            <a:normAutofit/>
          </a:bodyPr>
          <a:lstStyle>
            <a:lvl1pPr>
              <a:defRPr sz="1600">
                <a:latin typeface="DIN Next LT Arabic" panose="020B0503020203050203" pitchFamily="34" charset="-78"/>
              </a:defRPr>
            </a:lvl1pPr>
          </a:lstStyle>
          <a:p>
            <a:pPr lvl="0"/>
            <a:r>
              <a:rPr lang="en-US"/>
              <a:t>Title</a:t>
            </a:r>
          </a:p>
        </p:txBody>
      </p:sp>
      <p:sp>
        <p:nvSpPr>
          <p:cNvPr id="25" name="Title 1">
            <a:extLst>
              <a:ext uri="{FF2B5EF4-FFF2-40B4-BE49-F238E27FC236}">
                <a16:creationId xmlns:a16="http://schemas.microsoft.com/office/drawing/2014/main" id="{46DE1E59-8605-4D88-8ED8-4C86E80ABD4F}"/>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r>
              <a:rPr lang="en-US"/>
              <a:t>Tagline</a:t>
            </a:r>
            <a:endParaRPr lang="ar-SA"/>
          </a:p>
        </p:txBody>
      </p:sp>
      <p:sp>
        <p:nvSpPr>
          <p:cNvPr id="2" name="Date Placeholder 1">
            <a:extLst>
              <a:ext uri="{FF2B5EF4-FFF2-40B4-BE49-F238E27FC236}">
                <a16:creationId xmlns:a16="http://schemas.microsoft.com/office/drawing/2014/main" id="{F52F82F9-9D16-41D0-A0C9-6872ECEEB251}"/>
              </a:ext>
            </a:extLst>
          </p:cNvPr>
          <p:cNvSpPr>
            <a:spLocks noGrp="1"/>
          </p:cNvSpPr>
          <p:nvPr>
            <p:ph type="dt" sz="half" idx="11"/>
          </p:nvPr>
        </p:nvSpPr>
        <p:spPr/>
        <p:txBody>
          <a:bodyPr/>
          <a:lstStyle>
            <a:lvl1pPr>
              <a:defRPr>
                <a:latin typeface="DIN Next LT Arabic" panose="020B0503020203050203" pitchFamily="34" charset="-78"/>
              </a:defRPr>
            </a:lvl1pPr>
          </a:lstStyle>
          <a:p>
            <a:endParaRPr lang="en-US"/>
          </a:p>
        </p:txBody>
      </p:sp>
    </p:spTree>
    <p:extLst>
      <p:ext uri="{BB962C8B-B14F-4D97-AF65-F5344CB8AC3E}">
        <p14:creationId xmlns:p14="http://schemas.microsoft.com/office/powerpoint/2010/main" val="239960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1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8" name="Picture 17">
            <a:extLst>
              <a:ext uri="{FF2B5EF4-FFF2-40B4-BE49-F238E27FC236}">
                <a16:creationId xmlns:a16="http://schemas.microsoft.com/office/drawing/2014/main" id="{DFDDE4B7-1CAB-C84F-90FD-9F68D636888D}"/>
              </a:ext>
            </a:extLst>
          </p:cNvPr>
          <p:cNvPicPr>
            <a:picLocks noChangeAspect="1"/>
          </p:cNvPicPr>
          <p:nvPr userDrawn="1"/>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9338" y="538582"/>
            <a:ext cx="2207259" cy="825698"/>
          </a:xfrm>
          <a:prstGeom prst="rect">
            <a:avLst/>
          </a:prstGeom>
        </p:spPr>
      </p:pic>
      <p:sp>
        <p:nvSpPr>
          <p:cNvPr id="16" name="Title 1">
            <a:extLst>
              <a:ext uri="{FF2B5EF4-FFF2-40B4-BE49-F238E27FC236}">
                <a16:creationId xmlns:a16="http://schemas.microsoft.com/office/drawing/2014/main" id="{118B6C8E-8090-4E6B-AB72-A7933543EF90}"/>
              </a:ext>
            </a:extLst>
          </p:cNvPr>
          <p:cNvSpPr>
            <a:spLocks noGrp="1"/>
          </p:cNvSpPr>
          <p:nvPr>
            <p:ph type="ctrTitle" hasCustomPrompt="1"/>
          </p:nvPr>
        </p:nvSpPr>
        <p:spPr>
          <a:xfrm>
            <a:off x="695325" y="1715590"/>
            <a:ext cx="5400675" cy="1994624"/>
          </a:xfrm>
        </p:spPr>
        <p:txBody>
          <a:bodyPr lIns="0" tIns="0" rIns="0" bIns="0" anchor="b">
            <a:noAutofit/>
          </a:bodyPr>
          <a:lstStyle>
            <a:lvl1pPr algn="l">
              <a:defRPr sz="4400">
                <a:solidFill>
                  <a:schemeClr val="tx2"/>
                </a:solidFill>
                <a:latin typeface="+mj-lt"/>
                <a:ea typeface="+mj-ea"/>
                <a:cs typeface="+mj-cs"/>
                <a:sym typeface="+mj-lt"/>
              </a:defRPr>
            </a:lvl1pPr>
          </a:lstStyle>
          <a:p>
            <a:r>
              <a:rPr lang="en-US"/>
              <a:t>Presentation title goes here</a:t>
            </a:r>
            <a:endParaRPr lang="ar-SA"/>
          </a:p>
        </p:txBody>
      </p:sp>
      <p:sp>
        <p:nvSpPr>
          <p:cNvPr id="17" name="Subtitle 2">
            <a:extLst>
              <a:ext uri="{FF2B5EF4-FFF2-40B4-BE49-F238E27FC236}">
                <a16:creationId xmlns:a16="http://schemas.microsoft.com/office/drawing/2014/main" id="{4D5EE6E8-A3DF-421A-AFA2-A19B30A699D8}"/>
              </a:ext>
            </a:extLst>
          </p:cNvPr>
          <p:cNvSpPr>
            <a:spLocks noGrp="1"/>
          </p:cNvSpPr>
          <p:nvPr>
            <p:ph type="subTitle" idx="1" hasCustomPrompt="1"/>
          </p:nvPr>
        </p:nvSpPr>
        <p:spPr>
          <a:xfrm>
            <a:off x="695325" y="3878566"/>
            <a:ext cx="5400676" cy="863751"/>
          </a:xfrm>
        </p:spPr>
        <p:txBody>
          <a:bodyPr lIns="0" tIns="0" rIns="0" bIns="0">
            <a:noAutofit/>
          </a:bodyPr>
          <a:lstStyle>
            <a:lvl1pPr marL="0" indent="0" algn="l">
              <a:buNone/>
              <a:defRPr sz="2400">
                <a:solidFill>
                  <a:schemeClr val="tx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9" name="Text Placeholder 4">
            <a:extLst>
              <a:ext uri="{FF2B5EF4-FFF2-40B4-BE49-F238E27FC236}">
                <a16:creationId xmlns:a16="http://schemas.microsoft.com/office/drawing/2014/main" id="{9D229DDF-28A8-4374-8833-6BC778351496}"/>
              </a:ext>
            </a:extLst>
          </p:cNvPr>
          <p:cNvSpPr>
            <a:spLocks noGrp="1"/>
          </p:cNvSpPr>
          <p:nvPr>
            <p:ph type="body" sz="quarter" idx="13" hasCustomPrompt="1"/>
          </p:nvPr>
        </p:nvSpPr>
        <p:spPr>
          <a:xfrm>
            <a:off x="695325" y="5024348"/>
            <a:ext cx="5400675" cy="365125"/>
          </a:xfrm>
        </p:spPr>
        <p:txBody>
          <a:bodyPr/>
          <a:lstStyle>
            <a:lvl1pPr>
              <a:defRPr sz="1800"/>
            </a:lvl1pPr>
          </a:lstStyle>
          <a:p>
            <a:pPr lvl="0"/>
            <a:r>
              <a:rPr lang="en-US"/>
              <a:t>Date</a:t>
            </a:r>
          </a:p>
        </p:txBody>
      </p:sp>
      <p:pic>
        <p:nvPicPr>
          <p:cNvPr id="21" name="Picture 20">
            <a:extLst>
              <a:ext uri="{FF2B5EF4-FFF2-40B4-BE49-F238E27FC236}">
                <a16:creationId xmlns:a16="http://schemas.microsoft.com/office/drawing/2014/main" id="{76637089-851E-4A1D-BAAE-7C5AA19730E6}"/>
              </a:ext>
            </a:extLst>
          </p:cNvPr>
          <p:cNvPicPr>
            <a:picLocks noChangeAspect="1"/>
          </p:cNvPicPr>
          <p:nvPr userDrawn="1"/>
        </p:nvPicPr>
        <p:blipFill>
          <a:blip r:embed="rId8" cstate="email">
            <a:extLst>
              <a:ext uri="{28A0092B-C50C-407E-A947-70E740481C1C}">
                <a14:useLocalDpi xmlns:a14="http://schemas.microsoft.com/office/drawing/2010/main"/>
              </a:ext>
            </a:extLst>
          </a:blip>
          <a:srcRect/>
          <a:stretch/>
        </p:blipFill>
        <p:spPr>
          <a:xfrm>
            <a:off x="6869441" y="1539551"/>
            <a:ext cx="3869460" cy="3778898"/>
          </a:xfrm>
          <a:prstGeom prst="rect">
            <a:avLst/>
          </a:prstGeom>
        </p:spPr>
      </p:pic>
    </p:spTree>
    <p:extLst>
      <p:ext uri="{BB962C8B-B14F-4D97-AF65-F5344CB8AC3E}">
        <p14:creationId xmlns:p14="http://schemas.microsoft.com/office/powerpoint/2010/main" val="4211528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3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1D19ED4-D16F-4A7A-9E58-267217902FF6}"/>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3" name="Picture 12"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Title 1">
            <a:extLst>
              <a:ext uri="{FF2B5EF4-FFF2-40B4-BE49-F238E27FC236}">
                <a16:creationId xmlns:a16="http://schemas.microsoft.com/office/drawing/2014/main" id="{B1BE9CA4-DAD2-FF48-A729-547A9CF8A2CD}"/>
              </a:ext>
            </a:extLst>
          </p:cNvPr>
          <p:cNvSpPr>
            <a:spLocks noGrp="1"/>
          </p:cNvSpPr>
          <p:nvPr>
            <p:ph type="ctrTitle" hasCustomPrompt="1"/>
          </p:nvPr>
        </p:nvSpPr>
        <p:spPr>
          <a:xfrm>
            <a:off x="695325" y="1360173"/>
            <a:ext cx="6700559" cy="1994624"/>
          </a:xfrm>
        </p:spPr>
        <p:txBody>
          <a:bodyPr lIns="0" tIns="0" rIns="0" bIns="0" anchor="b">
            <a:noAutofit/>
          </a:bodyPr>
          <a:lstStyle>
            <a:lvl1pPr algn="l">
              <a:defRPr sz="4400">
                <a:solidFill>
                  <a:srgbClr val="FFFFFF"/>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Presentation title goes here</a:t>
            </a:r>
            <a:endParaRPr lang="ar-SA"/>
          </a:p>
        </p:txBody>
      </p:sp>
      <p:sp>
        <p:nvSpPr>
          <p:cNvPr id="11" name="Subtitle 2">
            <a:extLst>
              <a:ext uri="{FF2B5EF4-FFF2-40B4-BE49-F238E27FC236}">
                <a16:creationId xmlns:a16="http://schemas.microsoft.com/office/drawing/2014/main" id="{29E3B25C-B170-F241-807D-DB55A4665B0B}"/>
              </a:ext>
            </a:extLst>
          </p:cNvPr>
          <p:cNvSpPr>
            <a:spLocks noGrp="1"/>
          </p:cNvSpPr>
          <p:nvPr>
            <p:ph type="subTitle" idx="1" hasCustomPrompt="1"/>
          </p:nvPr>
        </p:nvSpPr>
        <p:spPr>
          <a:xfrm>
            <a:off x="695324" y="3510541"/>
            <a:ext cx="6700560" cy="863751"/>
          </a:xfrm>
        </p:spPr>
        <p:txBody>
          <a:bodyPr lIns="0" tIns="0" rIns="0" bIns="0">
            <a:noAutofit/>
          </a:bodyPr>
          <a:lstStyle>
            <a:lvl1pPr marL="0" indent="0" algn="l">
              <a:buNone/>
              <a:defRPr sz="2400">
                <a:solidFill>
                  <a:srgbClr val="FFFFFF"/>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 goes here</a:t>
            </a:r>
            <a:endParaRPr lang="ar-SA"/>
          </a:p>
        </p:txBody>
      </p:sp>
      <p:sp>
        <p:nvSpPr>
          <p:cNvPr id="12" name="Text Placeholder 2"/>
          <p:cNvSpPr>
            <a:spLocks noGrp="1"/>
          </p:cNvSpPr>
          <p:nvPr>
            <p:ph type="body" sz="quarter" idx="11" hasCustomPrompt="1"/>
          </p:nvPr>
        </p:nvSpPr>
        <p:spPr>
          <a:xfrm>
            <a:off x="695325" y="4586286"/>
            <a:ext cx="5400675" cy="365125"/>
          </a:xfrm>
        </p:spPr>
        <p:txBody>
          <a:bodyPr/>
          <a:lstStyle>
            <a:lvl1pPr>
              <a:defRPr sz="180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p>
        </p:txBody>
      </p:sp>
      <p:sp>
        <p:nvSpPr>
          <p:cNvPr id="14" name="Isosceles Triangle 13"/>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8" name="Picture 17">
            <a:extLst>
              <a:ext uri="{FF2B5EF4-FFF2-40B4-BE49-F238E27FC236}">
                <a16:creationId xmlns:a16="http://schemas.microsoft.com/office/drawing/2014/main" id="{DFDDE4B7-1CAB-C84F-90FD-9F68D636888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Tree>
    <p:extLst>
      <p:ext uri="{BB962C8B-B14F-4D97-AF65-F5344CB8AC3E}">
        <p14:creationId xmlns:p14="http://schemas.microsoft.com/office/powerpoint/2010/main" val="4097069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60"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2F22FD0-6596-4843-9D87-E0FE7F322A8B}"/>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Freeform 11"/>
          <p:cNvSpPr>
            <a:spLocks/>
          </p:cNvSpPr>
          <p:nvPr userDrawn="1"/>
        </p:nvSpPr>
        <p:spPr bwMode="auto">
          <a:xfrm>
            <a:off x="2" y="1"/>
            <a:ext cx="12191999" cy="6857998"/>
          </a:xfrm>
          <a:custGeom>
            <a:avLst/>
            <a:gdLst>
              <a:gd name="connsiteX0" fmla="*/ 4431989 w 12191999"/>
              <a:gd name="connsiteY0" fmla="*/ 5571788 h 6857998"/>
              <a:gd name="connsiteX1" fmla="*/ 4431989 w 12191999"/>
              <a:gd name="connsiteY1" fmla="*/ 5997393 h 6857998"/>
              <a:gd name="connsiteX2" fmla="*/ 4797291 w 12191999"/>
              <a:gd name="connsiteY2" fmla="*/ 5783919 h 6857998"/>
              <a:gd name="connsiteX3" fmla="*/ 370675 w 12191999"/>
              <a:gd name="connsiteY3" fmla="*/ 4927340 h 6857998"/>
              <a:gd name="connsiteX4" fmla="*/ 2686 w 12191999"/>
              <a:gd name="connsiteY4" fmla="*/ 5139471 h 6857998"/>
              <a:gd name="connsiteX5" fmla="*/ 370675 w 12191999"/>
              <a:gd name="connsiteY5" fmla="*/ 5352945 h 6857998"/>
              <a:gd name="connsiteX6" fmla="*/ 6275965 w 12191999"/>
              <a:gd name="connsiteY6" fmla="*/ 3218211 h 6857998"/>
              <a:gd name="connsiteX7" fmla="*/ 5912005 w 12191999"/>
              <a:gd name="connsiteY7" fmla="*/ 3430342 h 6857998"/>
              <a:gd name="connsiteX8" fmla="*/ 6275965 w 12191999"/>
              <a:gd name="connsiteY8" fmla="*/ 3643816 h 6857998"/>
              <a:gd name="connsiteX9" fmla="*/ 370675 w 12191999"/>
              <a:gd name="connsiteY9" fmla="*/ 3218211 h 6857998"/>
              <a:gd name="connsiteX10" fmla="*/ 370675 w 12191999"/>
              <a:gd name="connsiteY10" fmla="*/ 4076133 h 6857998"/>
              <a:gd name="connsiteX11" fmla="*/ 735978 w 12191999"/>
              <a:gd name="connsiteY11" fmla="*/ 4285578 h 6857998"/>
              <a:gd name="connsiteX12" fmla="*/ 735978 w 12191999"/>
              <a:gd name="connsiteY12" fmla="*/ 3430342 h 6857998"/>
              <a:gd name="connsiteX13" fmla="*/ 5171997 w 12191999"/>
              <a:gd name="connsiteY13" fmla="*/ 1290239 h 6857998"/>
              <a:gd name="connsiteX14" fmla="*/ 5171997 w 12191999"/>
              <a:gd name="connsiteY14" fmla="*/ 1715843 h 6857998"/>
              <a:gd name="connsiteX15" fmla="*/ 5537299 w 12191999"/>
              <a:gd name="connsiteY15" fmla="*/ 1502370 h 6857998"/>
              <a:gd name="connsiteX16" fmla="*/ 370675 w 12191999"/>
              <a:gd name="connsiteY16" fmla="*/ 645791 h 6857998"/>
              <a:gd name="connsiteX17" fmla="*/ 370675 w 12191999"/>
              <a:gd name="connsiteY17" fmla="*/ 1071396 h 6857998"/>
              <a:gd name="connsiteX18" fmla="*/ 735978 w 12191999"/>
              <a:gd name="connsiteY18" fmla="*/ 857922 h 6857998"/>
              <a:gd name="connsiteX19" fmla="*/ 2958689 w 12191999"/>
              <a:gd name="connsiteY19" fmla="*/ 0 h 6857998"/>
              <a:gd name="connsiteX20" fmla="*/ 12191999 w 12191999"/>
              <a:gd name="connsiteY20" fmla="*/ 0 h 6857998"/>
              <a:gd name="connsiteX21" fmla="*/ 12191999 w 12191999"/>
              <a:gd name="connsiteY21" fmla="*/ 6857998 h 6857998"/>
              <a:gd name="connsiteX22" fmla="*/ 4431991 w 12191999"/>
              <a:gd name="connsiteY22" fmla="*/ 6857998 h 6857998"/>
              <a:gd name="connsiteX23" fmla="*/ 4797291 w 12191999"/>
              <a:gd name="connsiteY23" fmla="*/ 6641840 h 6857998"/>
              <a:gd name="connsiteX24" fmla="*/ 4431989 w 12191999"/>
              <a:gd name="connsiteY24" fmla="*/ 6429709 h 6857998"/>
              <a:gd name="connsiteX25" fmla="*/ 4431989 w 12191999"/>
              <a:gd name="connsiteY25" fmla="*/ 6857998 h 6857998"/>
              <a:gd name="connsiteX26" fmla="*/ 3691983 w 12191999"/>
              <a:gd name="connsiteY26" fmla="*/ 6857998 h 6857998"/>
              <a:gd name="connsiteX27" fmla="*/ 3691983 w 12191999"/>
              <a:gd name="connsiteY27" fmla="*/ 6848600 h 6857998"/>
              <a:gd name="connsiteX28" fmla="*/ 3691983 w 12191999"/>
              <a:gd name="connsiteY28" fmla="*/ 6000077 h 6857998"/>
              <a:gd name="connsiteX29" fmla="*/ 5537300 w 12191999"/>
              <a:gd name="connsiteY29" fmla="*/ 4927340 h 6857998"/>
              <a:gd name="connsiteX30" fmla="*/ 5537300 w 12191999"/>
              <a:gd name="connsiteY30" fmla="*/ 3641129 h 6857998"/>
              <a:gd name="connsiteX31" fmla="*/ 5165282 w 12191999"/>
              <a:gd name="connsiteY31" fmla="*/ 3427656 h 6857998"/>
              <a:gd name="connsiteX32" fmla="*/ 5165282 w 12191999"/>
              <a:gd name="connsiteY32" fmla="*/ 2148160 h 6857998"/>
              <a:gd name="connsiteX33" fmla="*/ 4793264 w 12191999"/>
              <a:gd name="connsiteY33" fmla="*/ 1934686 h 6857998"/>
              <a:gd name="connsiteX34" fmla="*/ 4793264 w 12191999"/>
              <a:gd name="connsiteY34" fmla="*/ 1502369 h 6857998"/>
              <a:gd name="connsiteX35" fmla="*/ 4431989 w 12191999"/>
              <a:gd name="connsiteY35" fmla="*/ 1292924 h 6857998"/>
              <a:gd name="connsiteX36" fmla="*/ 4431989 w 12191999"/>
              <a:gd name="connsiteY36" fmla="*/ 857921 h 6857998"/>
              <a:gd name="connsiteX37" fmla="*/ 0 w 12191999"/>
              <a:gd name="connsiteY37" fmla="*/ 0 h 6857998"/>
              <a:gd name="connsiteX38" fmla="*/ 735979 w 12191999"/>
              <a:gd name="connsiteY38" fmla="*/ 0 h 6857998"/>
              <a:gd name="connsiteX39" fmla="*/ 738666 w 12191999"/>
              <a:gd name="connsiteY39" fmla="*/ 0 h 6857998"/>
              <a:gd name="connsiteX40" fmla="*/ 738666 w 12191999"/>
              <a:gd name="connsiteY40" fmla="*/ 1287553 h 6857998"/>
              <a:gd name="connsiteX41" fmla="*/ 367990 w 12191999"/>
              <a:gd name="connsiteY41" fmla="*/ 1499684 h 6857998"/>
              <a:gd name="connsiteX42" fmla="*/ 367990 w 12191999"/>
              <a:gd name="connsiteY42" fmla="*/ 1927973 h 6857998"/>
              <a:gd name="connsiteX43" fmla="*/ 735979 w 12191999"/>
              <a:gd name="connsiteY43" fmla="*/ 2141447 h 6857998"/>
              <a:gd name="connsiteX44" fmla="*/ 735979 w 12191999"/>
              <a:gd name="connsiteY44" fmla="*/ 2573764 h 6857998"/>
              <a:gd name="connsiteX45" fmla="*/ 1107998 w 12191999"/>
              <a:gd name="connsiteY45" fmla="*/ 2789922 h 6857998"/>
              <a:gd name="connsiteX46" fmla="*/ 1107998 w 12191999"/>
              <a:gd name="connsiteY46" fmla="*/ 5783919 h 6857998"/>
              <a:gd name="connsiteX47" fmla="*/ 367990 w 12191999"/>
              <a:gd name="connsiteY47" fmla="*/ 6216236 h 6857998"/>
              <a:gd name="connsiteX48" fmla="*/ 367990 w 12191999"/>
              <a:gd name="connsiteY48" fmla="*/ 6641840 h 6857998"/>
              <a:gd name="connsiteX49" fmla="*/ 738666 w 12191999"/>
              <a:gd name="connsiteY49" fmla="*/ 6425681 h 6857998"/>
              <a:gd name="connsiteX50" fmla="*/ 738666 w 12191999"/>
              <a:gd name="connsiteY50" fmla="*/ 6857998 h 6857998"/>
              <a:gd name="connsiteX51" fmla="*/ 0 w 12191999"/>
              <a:gd name="connsiteY51" fmla="*/ 6857998 h 6857998"/>
              <a:gd name="connsiteX52" fmla="*/ 0 w 12191999"/>
              <a:gd name="connsiteY52" fmla="*/ 4717894 h 6857998"/>
              <a:gd name="connsiteX53" fmla="*/ 365304 w 12191999"/>
              <a:gd name="connsiteY53" fmla="*/ 4504421 h 6857998"/>
              <a:gd name="connsiteX54" fmla="*/ 0 w 12191999"/>
              <a:gd name="connsiteY54" fmla="*/ 4292290 h 6857998"/>
              <a:gd name="connsiteX55" fmla="*/ 0 w 12191999"/>
              <a:gd name="connsiteY55" fmla="*/ 4285577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91999" h="6857998">
                <a:moveTo>
                  <a:pt x="4431989" y="5571788"/>
                </a:moveTo>
                <a:lnTo>
                  <a:pt x="4431989" y="5997393"/>
                </a:lnTo>
                <a:lnTo>
                  <a:pt x="4797291" y="5783919"/>
                </a:lnTo>
                <a:close/>
                <a:moveTo>
                  <a:pt x="370675" y="4927340"/>
                </a:moveTo>
                <a:lnTo>
                  <a:pt x="2686" y="5139471"/>
                </a:lnTo>
                <a:lnTo>
                  <a:pt x="370675" y="5352945"/>
                </a:lnTo>
                <a:close/>
                <a:moveTo>
                  <a:pt x="6275965" y="3218211"/>
                </a:moveTo>
                <a:lnTo>
                  <a:pt x="5912005" y="3430342"/>
                </a:lnTo>
                <a:lnTo>
                  <a:pt x="6275965" y="3643816"/>
                </a:lnTo>
                <a:close/>
                <a:moveTo>
                  <a:pt x="370675" y="3218211"/>
                </a:moveTo>
                <a:lnTo>
                  <a:pt x="370675" y="4076133"/>
                </a:lnTo>
                <a:lnTo>
                  <a:pt x="735978" y="4285578"/>
                </a:lnTo>
                <a:lnTo>
                  <a:pt x="735978" y="3430342"/>
                </a:lnTo>
                <a:close/>
                <a:moveTo>
                  <a:pt x="5171997" y="1290239"/>
                </a:moveTo>
                <a:lnTo>
                  <a:pt x="5171997" y="1715843"/>
                </a:lnTo>
                <a:lnTo>
                  <a:pt x="5537299" y="1502370"/>
                </a:lnTo>
                <a:close/>
                <a:moveTo>
                  <a:pt x="370675" y="645791"/>
                </a:moveTo>
                <a:lnTo>
                  <a:pt x="370675" y="1071396"/>
                </a:lnTo>
                <a:lnTo>
                  <a:pt x="735978" y="857922"/>
                </a:lnTo>
                <a:close/>
                <a:moveTo>
                  <a:pt x="2958689" y="0"/>
                </a:moveTo>
                <a:lnTo>
                  <a:pt x="12191999" y="0"/>
                </a:lnTo>
                <a:lnTo>
                  <a:pt x="12191999" y="6857998"/>
                </a:lnTo>
                <a:lnTo>
                  <a:pt x="4431991" y="6857998"/>
                </a:lnTo>
                <a:lnTo>
                  <a:pt x="4797291" y="6641840"/>
                </a:lnTo>
                <a:lnTo>
                  <a:pt x="4431989" y="6429709"/>
                </a:lnTo>
                <a:lnTo>
                  <a:pt x="4431989" y="6857998"/>
                </a:lnTo>
                <a:lnTo>
                  <a:pt x="3691983" y="6857998"/>
                </a:lnTo>
                <a:lnTo>
                  <a:pt x="3691983" y="6848600"/>
                </a:lnTo>
                <a:lnTo>
                  <a:pt x="3691983" y="6000077"/>
                </a:lnTo>
                <a:lnTo>
                  <a:pt x="5537300" y="4927340"/>
                </a:lnTo>
                <a:lnTo>
                  <a:pt x="5537300" y="3641129"/>
                </a:lnTo>
                <a:lnTo>
                  <a:pt x="5165282" y="3427656"/>
                </a:lnTo>
                <a:lnTo>
                  <a:pt x="5165282" y="2148160"/>
                </a:lnTo>
                <a:lnTo>
                  <a:pt x="4793264" y="1934686"/>
                </a:lnTo>
                <a:lnTo>
                  <a:pt x="4793264" y="1502369"/>
                </a:lnTo>
                <a:lnTo>
                  <a:pt x="4431989" y="1292924"/>
                </a:lnTo>
                <a:lnTo>
                  <a:pt x="4431989" y="857921"/>
                </a:lnTo>
                <a:close/>
                <a:moveTo>
                  <a:pt x="0" y="0"/>
                </a:moveTo>
                <a:lnTo>
                  <a:pt x="735979" y="0"/>
                </a:lnTo>
                <a:lnTo>
                  <a:pt x="738666" y="0"/>
                </a:lnTo>
                <a:lnTo>
                  <a:pt x="738666" y="1287553"/>
                </a:lnTo>
                <a:lnTo>
                  <a:pt x="367990" y="1499684"/>
                </a:lnTo>
                <a:lnTo>
                  <a:pt x="367990" y="1927973"/>
                </a:lnTo>
                <a:lnTo>
                  <a:pt x="735979" y="2141447"/>
                </a:lnTo>
                <a:lnTo>
                  <a:pt x="735979" y="2573764"/>
                </a:lnTo>
                <a:lnTo>
                  <a:pt x="1107998" y="2789922"/>
                </a:lnTo>
                <a:lnTo>
                  <a:pt x="1107998" y="5783919"/>
                </a:lnTo>
                <a:lnTo>
                  <a:pt x="367990" y="6216236"/>
                </a:lnTo>
                <a:lnTo>
                  <a:pt x="367990" y="6641840"/>
                </a:lnTo>
                <a:lnTo>
                  <a:pt x="738666" y="6425681"/>
                </a:lnTo>
                <a:lnTo>
                  <a:pt x="738666" y="6857998"/>
                </a:lnTo>
                <a:lnTo>
                  <a:pt x="0" y="6857998"/>
                </a:lnTo>
                <a:lnTo>
                  <a:pt x="0" y="4717894"/>
                </a:lnTo>
                <a:lnTo>
                  <a:pt x="365304" y="4504421"/>
                </a:lnTo>
                <a:lnTo>
                  <a:pt x="0" y="4292290"/>
                </a:lnTo>
                <a:lnTo>
                  <a:pt x="0" y="4285577"/>
                </a:ln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Freeform 7"/>
          <p:cNvSpPr>
            <a:spLocks/>
          </p:cNvSpPr>
          <p:nvPr userDrawn="1"/>
        </p:nvSpPr>
        <p:spPr bwMode="auto">
          <a:xfrm>
            <a:off x="6275966" y="3643816"/>
            <a:ext cx="365303" cy="428290"/>
          </a:xfrm>
          <a:custGeom>
            <a:avLst/>
            <a:gdLst>
              <a:gd name="T0" fmla="*/ 0 w 272"/>
              <a:gd name="T1" fmla="*/ 319 h 319"/>
              <a:gd name="T2" fmla="*/ 0 w 272"/>
              <a:gd name="T3" fmla="*/ 0 h 319"/>
              <a:gd name="T4" fmla="*/ 272 w 272"/>
              <a:gd name="T5" fmla="*/ 161 h 319"/>
              <a:gd name="T6" fmla="*/ 0 w 272"/>
              <a:gd name="T7" fmla="*/ 319 h 319"/>
            </a:gdLst>
            <a:ahLst/>
            <a:cxnLst>
              <a:cxn ang="0">
                <a:pos x="T0" y="T1"/>
              </a:cxn>
              <a:cxn ang="0">
                <a:pos x="T2" y="T3"/>
              </a:cxn>
              <a:cxn ang="0">
                <a:pos x="T4" y="T5"/>
              </a:cxn>
              <a:cxn ang="0">
                <a:pos x="T6" y="T7"/>
              </a:cxn>
            </a:cxnLst>
            <a:rect l="0" t="0" r="r" b="b"/>
            <a:pathLst>
              <a:path w="272" h="319">
                <a:moveTo>
                  <a:pt x="0" y="319"/>
                </a:moveTo>
                <a:lnTo>
                  <a:pt x="0" y="0"/>
                </a:lnTo>
                <a:lnTo>
                  <a:pt x="272" y="161"/>
                </a:lnTo>
                <a:lnTo>
                  <a:pt x="0" y="319"/>
                </a:lnTo>
                <a:close/>
              </a:path>
            </a:pathLst>
          </a:custGeom>
          <a:gradFill>
            <a:gsLst>
              <a:gs pos="0">
                <a:srgbClr val="EB6139"/>
              </a:gs>
              <a:gs pos="100000">
                <a:srgbClr val="D95D3E"/>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Freeform 8"/>
          <p:cNvSpPr>
            <a:spLocks/>
          </p:cNvSpPr>
          <p:nvPr userDrawn="1"/>
        </p:nvSpPr>
        <p:spPr bwMode="auto">
          <a:xfrm>
            <a:off x="5542673" y="2789922"/>
            <a:ext cx="365303" cy="425605"/>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F7437"/>
              </a:gs>
              <a:gs pos="100000">
                <a:srgbClr val="FF6C35"/>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 name="Freeform 9"/>
          <p:cNvSpPr>
            <a:spLocks/>
          </p:cNvSpPr>
          <p:nvPr userDrawn="1"/>
        </p:nvSpPr>
        <p:spPr bwMode="auto">
          <a:xfrm>
            <a:off x="5539987" y="5783919"/>
            <a:ext cx="365303" cy="425605"/>
          </a:xfrm>
          <a:custGeom>
            <a:avLst/>
            <a:gdLst>
              <a:gd name="T0" fmla="*/ 0 w 272"/>
              <a:gd name="T1" fmla="*/ 317 h 317"/>
              <a:gd name="T2" fmla="*/ 0 w 272"/>
              <a:gd name="T3" fmla="*/ 0 h 317"/>
              <a:gd name="T4" fmla="*/ 272 w 272"/>
              <a:gd name="T5" fmla="*/ 159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9"/>
                </a:lnTo>
                <a:lnTo>
                  <a:pt x="0" y="317"/>
                </a:lnTo>
                <a:close/>
              </a:path>
            </a:pathLst>
          </a:custGeom>
          <a:gradFill>
            <a:gsLst>
              <a:gs pos="0">
                <a:srgbClr val="66425F"/>
              </a:gs>
              <a:gs pos="100000">
                <a:srgbClr val="513E64"/>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Freeform 12"/>
          <p:cNvSpPr>
            <a:spLocks/>
          </p:cNvSpPr>
          <p:nvPr userDrawn="1"/>
        </p:nvSpPr>
        <p:spPr bwMode="auto">
          <a:xfrm>
            <a:off x="367989" y="2369689"/>
            <a:ext cx="367989" cy="848523"/>
          </a:xfrm>
          <a:custGeom>
            <a:avLst/>
            <a:gdLst>
              <a:gd name="T0" fmla="*/ 2 w 274"/>
              <a:gd name="T1" fmla="*/ 0 h 632"/>
              <a:gd name="T2" fmla="*/ 0 w 274"/>
              <a:gd name="T3" fmla="*/ 317 h 632"/>
              <a:gd name="T4" fmla="*/ 0 w 274"/>
              <a:gd name="T5" fmla="*/ 632 h 632"/>
              <a:gd name="T6" fmla="*/ 274 w 274"/>
              <a:gd name="T7" fmla="*/ 471 h 632"/>
              <a:gd name="T8" fmla="*/ 274 w 274"/>
              <a:gd name="T9" fmla="*/ 156 h 632"/>
              <a:gd name="T10" fmla="*/ 2 w 274"/>
              <a:gd name="T11" fmla="*/ 0 h 632"/>
            </a:gdLst>
            <a:ahLst/>
            <a:cxnLst>
              <a:cxn ang="0">
                <a:pos x="T0" y="T1"/>
              </a:cxn>
              <a:cxn ang="0">
                <a:pos x="T2" y="T3"/>
              </a:cxn>
              <a:cxn ang="0">
                <a:pos x="T4" y="T5"/>
              </a:cxn>
              <a:cxn ang="0">
                <a:pos x="T6" y="T7"/>
              </a:cxn>
              <a:cxn ang="0">
                <a:pos x="T8" y="T9"/>
              </a:cxn>
              <a:cxn ang="0">
                <a:pos x="T10" y="T11"/>
              </a:cxn>
            </a:cxnLst>
            <a:rect l="0" t="0" r="r" b="b"/>
            <a:pathLst>
              <a:path w="274" h="632">
                <a:moveTo>
                  <a:pt x="2" y="0"/>
                </a:moveTo>
                <a:lnTo>
                  <a:pt x="0" y="317"/>
                </a:lnTo>
                <a:lnTo>
                  <a:pt x="0" y="632"/>
                </a:lnTo>
                <a:lnTo>
                  <a:pt x="274" y="471"/>
                </a:lnTo>
                <a:lnTo>
                  <a:pt x="274" y="156"/>
                </a:lnTo>
                <a:lnTo>
                  <a:pt x="2" y="0"/>
                </a:lnTo>
                <a:close/>
              </a:path>
            </a:pathLst>
          </a:custGeom>
          <a:gradFill>
            <a:gsLst>
              <a:gs pos="0">
                <a:srgbClr val="FE7D37"/>
              </a:gs>
              <a:gs pos="100000">
                <a:srgbClr val="FF6D35"/>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Freeform 13"/>
          <p:cNvSpPr>
            <a:spLocks/>
          </p:cNvSpPr>
          <p:nvPr userDrawn="1"/>
        </p:nvSpPr>
        <p:spPr bwMode="auto">
          <a:xfrm>
            <a:off x="367989" y="4927341"/>
            <a:ext cx="367989" cy="847181"/>
          </a:xfrm>
          <a:custGeom>
            <a:avLst/>
            <a:gdLst>
              <a:gd name="T0" fmla="*/ 2 w 274"/>
              <a:gd name="T1" fmla="*/ 0 h 631"/>
              <a:gd name="T2" fmla="*/ 0 w 274"/>
              <a:gd name="T3" fmla="*/ 314 h 631"/>
              <a:gd name="T4" fmla="*/ 0 w 274"/>
              <a:gd name="T5" fmla="*/ 631 h 631"/>
              <a:gd name="T6" fmla="*/ 274 w 274"/>
              <a:gd name="T7" fmla="*/ 471 h 631"/>
              <a:gd name="T8" fmla="*/ 274 w 274"/>
              <a:gd name="T9" fmla="*/ 156 h 631"/>
              <a:gd name="T10" fmla="*/ 2 w 274"/>
              <a:gd name="T11" fmla="*/ 0 h 631"/>
            </a:gdLst>
            <a:ahLst/>
            <a:cxnLst>
              <a:cxn ang="0">
                <a:pos x="T0" y="T1"/>
              </a:cxn>
              <a:cxn ang="0">
                <a:pos x="T2" y="T3"/>
              </a:cxn>
              <a:cxn ang="0">
                <a:pos x="T4" y="T5"/>
              </a:cxn>
              <a:cxn ang="0">
                <a:pos x="T6" y="T7"/>
              </a:cxn>
              <a:cxn ang="0">
                <a:pos x="T8" y="T9"/>
              </a:cxn>
              <a:cxn ang="0">
                <a:pos x="T10" y="T11"/>
              </a:cxn>
            </a:cxnLst>
            <a:rect l="0" t="0" r="r" b="b"/>
            <a:pathLst>
              <a:path w="274" h="631">
                <a:moveTo>
                  <a:pt x="2" y="0"/>
                </a:moveTo>
                <a:lnTo>
                  <a:pt x="0" y="314"/>
                </a:lnTo>
                <a:lnTo>
                  <a:pt x="0" y="631"/>
                </a:lnTo>
                <a:lnTo>
                  <a:pt x="274" y="471"/>
                </a:lnTo>
                <a:lnTo>
                  <a:pt x="274" y="156"/>
                </a:lnTo>
                <a:lnTo>
                  <a:pt x="2" y="0"/>
                </a:lnTo>
                <a:close/>
              </a:path>
            </a:pathLst>
          </a:custGeom>
          <a:gradFill>
            <a:gsLst>
              <a:gs pos="0">
                <a:srgbClr val="994E50"/>
              </a:gs>
              <a:gs pos="100000">
                <a:srgbClr val="7D5B71"/>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Freeform 14"/>
          <p:cNvSpPr>
            <a:spLocks/>
          </p:cNvSpPr>
          <p:nvPr userDrawn="1"/>
        </p:nvSpPr>
        <p:spPr bwMode="auto">
          <a:xfrm>
            <a:off x="5546702" y="3859974"/>
            <a:ext cx="729264" cy="1286210"/>
          </a:xfrm>
          <a:custGeom>
            <a:avLst/>
            <a:gdLst>
              <a:gd name="T0" fmla="*/ 543 w 543"/>
              <a:gd name="T1" fmla="*/ 799 h 958"/>
              <a:gd name="T2" fmla="*/ 543 w 543"/>
              <a:gd name="T3" fmla="*/ 158 h 958"/>
              <a:gd name="T4" fmla="*/ 272 w 543"/>
              <a:gd name="T5" fmla="*/ 0 h 958"/>
              <a:gd name="T6" fmla="*/ 272 w 543"/>
              <a:gd name="T7" fmla="*/ 641 h 958"/>
              <a:gd name="T8" fmla="*/ 0 w 543"/>
              <a:gd name="T9" fmla="*/ 799 h 958"/>
              <a:gd name="T10" fmla="*/ 272 w 543"/>
              <a:gd name="T11" fmla="*/ 958 h 958"/>
              <a:gd name="T12" fmla="*/ 543 w 543"/>
              <a:gd name="T13" fmla="*/ 799 h 958"/>
            </a:gdLst>
            <a:ahLst/>
            <a:cxnLst>
              <a:cxn ang="0">
                <a:pos x="T0" y="T1"/>
              </a:cxn>
              <a:cxn ang="0">
                <a:pos x="T2" y="T3"/>
              </a:cxn>
              <a:cxn ang="0">
                <a:pos x="T4" y="T5"/>
              </a:cxn>
              <a:cxn ang="0">
                <a:pos x="T6" y="T7"/>
              </a:cxn>
              <a:cxn ang="0">
                <a:pos x="T8" y="T9"/>
              </a:cxn>
              <a:cxn ang="0">
                <a:pos x="T10" y="T11"/>
              </a:cxn>
              <a:cxn ang="0">
                <a:pos x="T12" y="T13"/>
              </a:cxn>
            </a:cxnLst>
            <a:rect l="0" t="0" r="r" b="b"/>
            <a:pathLst>
              <a:path w="543" h="958">
                <a:moveTo>
                  <a:pt x="543" y="799"/>
                </a:moveTo>
                <a:lnTo>
                  <a:pt x="543" y="158"/>
                </a:lnTo>
                <a:lnTo>
                  <a:pt x="272" y="0"/>
                </a:lnTo>
                <a:lnTo>
                  <a:pt x="272" y="641"/>
                </a:lnTo>
                <a:lnTo>
                  <a:pt x="0" y="799"/>
                </a:lnTo>
                <a:lnTo>
                  <a:pt x="272" y="958"/>
                </a:lnTo>
                <a:lnTo>
                  <a:pt x="543" y="799"/>
                </a:lnTo>
                <a:close/>
              </a:path>
            </a:pathLst>
          </a:custGeom>
          <a:gradFill>
            <a:gsLst>
              <a:gs pos="0">
                <a:srgbClr val="DC5E3D"/>
              </a:gs>
              <a:gs pos="100000">
                <a:srgbClr val="964E51"/>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9" name="Freeform 15"/>
          <p:cNvSpPr>
            <a:spLocks/>
          </p:cNvSpPr>
          <p:nvPr userDrawn="1"/>
        </p:nvSpPr>
        <p:spPr bwMode="auto">
          <a:xfrm>
            <a:off x="5546702" y="1715842"/>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FE8F3D"/>
              </a:gs>
              <a:gs pos="100000">
                <a:srgbClr val="FE883D"/>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Freeform 16"/>
          <p:cNvSpPr>
            <a:spLocks/>
          </p:cNvSpPr>
          <p:nvPr userDrawn="1"/>
        </p:nvSpPr>
        <p:spPr bwMode="auto">
          <a:xfrm>
            <a:off x="742694" y="1502369"/>
            <a:ext cx="365303" cy="429632"/>
          </a:xfrm>
          <a:custGeom>
            <a:avLst/>
            <a:gdLst>
              <a:gd name="T0" fmla="*/ 272 w 272"/>
              <a:gd name="T1" fmla="*/ 320 h 320"/>
              <a:gd name="T2" fmla="*/ 0 w 272"/>
              <a:gd name="T3" fmla="*/ 161 h 320"/>
              <a:gd name="T4" fmla="*/ 272 w 272"/>
              <a:gd name="T5" fmla="*/ 0 h 320"/>
              <a:gd name="T6" fmla="*/ 272 w 272"/>
              <a:gd name="T7" fmla="*/ 320 h 320"/>
            </a:gdLst>
            <a:ahLst/>
            <a:cxnLst>
              <a:cxn ang="0">
                <a:pos x="T0" y="T1"/>
              </a:cxn>
              <a:cxn ang="0">
                <a:pos x="T2" y="T3"/>
              </a:cxn>
              <a:cxn ang="0">
                <a:pos x="T4" y="T5"/>
              </a:cxn>
              <a:cxn ang="0">
                <a:pos x="T6" y="T7"/>
              </a:cxn>
            </a:cxnLst>
            <a:rect l="0" t="0" r="r" b="b"/>
            <a:pathLst>
              <a:path w="272" h="320">
                <a:moveTo>
                  <a:pt x="272" y="320"/>
                </a:moveTo>
                <a:lnTo>
                  <a:pt x="0" y="161"/>
                </a:lnTo>
                <a:lnTo>
                  <a:pt x="272" y="0"/>
                </a:lnTo>
                <a:lnTo>
                  <a:pt x="272" y="320"/>
                </a:lnTo>
                <a:close/>
              </a:path>
            </a:pathLst>
          </a:custGeom>
          <a:gradFill>
            <a:gsLst>
              <a:gs pos="0">
                <a:srgbClr val="FE9541"/>
              </a:gs>
              <a:gs pos="100000">
                <a:srgbClr val="FE8E3F"/>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Freeform 17"/>
          <p:cNvSpPr>
            <a:spLocks/>
          </p:cNvSpPr>
          <p:nvPr userDrawn="1"/>
        </p:nvSpPr>
        <p:spPr bwMode="auto">
          <a:xfrm>
            <a:off x="1475987" y="2573764"/>
            <a:ext cx="365303" cy="425605"/>
          </a:xfrm>
          <a:custGeom>
            <a:avLst/>
            <a:gdLst>
              <a:gd name="T0" fmla="*/ 0 w 272"/>
              <a:gd name="T1" fmla="*/ 317 h 317"/>
              <a:gd name="T2" fmla="*/ 272 w 272"/>
              <a:gd name="T3" fmla="*/ 158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8"/>
                </a:lnTo>
                <a:lnTo>
                  <a:pt x="0" y="0"/>
                </a:lnTo>
                <a:lnTo>
                  <a:pt x="0" y="317"/>
                </a:lnTo>
                <a:close/>
              </a:path>
            </a:pathLst>
          </a:custGeom>
          <a:gradFill>
            <a:gsLst>
              <a:gs pos="0">
                <a:srgbClr val="FF7B3A"/>
              </a:gs>
              <a:gs pos="100000">
                <a:srgbClr val="FF763A"/>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Freeform 18"/>
          <p:cNvSpPr>
            <a:spLocks/>
          </p:cNvSpPr>
          <p:nvPr userDrawn="1"/>
        </p:nvSpPr>
        <p:spPr bwMode="auto">
          <a:xfrm>
            <a:off x="4806694" y="4072105"/>
            <a:ext cx="365303" cy="425605"/>
          </a:xfrm>
          <a:custGeom>
            <a:avLst/>
            <a:gdLst>
              <a:gd name="T0" fmla="*/ 0 w 272"/>
              <a:gd name="T1" fmla="*/ 317 h 317"/>
              <a:gd name="T2" fmla="*/ 272 w 272"/>
              <a:gd name="T3" fmla="*/ 159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9"/>
                </a:lnTo>
                <a:lnTo>
                  <a:pt x="0" y="0"/>
                </a:lnTo>
                <a:lnTo>
                  <a:pt x="0" y="317"/>
                </a:lnTo>
                <a:close/>
              </a:path>
            </a:pathLst>
          </a:custGeom>
          <a:gradFill>
            <a:gsLst>
              <a:gs pos="0">
                <a:srgbClr val="D05B40"/>
              </a:gs>
              <a:gs pos="100000">
                <a:srgbClr val="BE5F4F"/>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3" name="Freeform 19"/>
          <p:cNvSpPr>
            <a:spLocks/>
          </p:cNvSpPr>
          <p:nvPr userDrawn="1"/>
        </p:nvSpPr>
        <p:spPr bwMode="auto">
          <a:xfrm>
            <a:off x="4429303" y="4717895"/>
            <a:ext cx="363961" cy="425605"/>
          </a:xfrm>
          <a:custGeom>
            <a:avLst/>
            <a:gdLst>
              <a:gd name="T0" fmla="*/ 0 w 271"/>
              <a:gd name="T1" fmla="*/ 317 h 317"/>
              <a:gd name="T2" fmla="*/ 271 w 271"/>
              <a:gd name="T3" fmla="*/ 158 h 317"/>
              <a:gd name="T4" fmla="*/ 0 w 271"/>
              <a:gd name="T5" fmla="*/ 0 h 317"/>
              <a:gd name="T6" fmla="*/ 0 w 271"/>
              <a:gd name="T7" fmla="*/ 317 h 317"/>
            </a:gdLst>
            <a:ahLst/>
            <a:cxnLst>
              <a:cxn ang="0">
                <a:pos x="T0" y="T1"/>
              </a:cxn>
              <a:cxn ang="0">
                <a:pos x="T2" y="T3"/>
              </a:cxn>
              <a:cxn ang="0">
                <a:pos x="T4" y="T5"/>
              </a:cxn>
              <a:cxn ang="0">
                <a:pos x="T6" y="T7"/>
              </a:cxn>
            </a:cxnLst>
            <a:rect l="0" t="0" r="r" b="b"/>
            <a:pathLst>
              <a:path w="271" h="317">
                <a:moveTo>
                  <a:pt x="0" y="317"/>
                </a:moveTo>
                <a:lnTo>
                  <a:pt x="271" y="158"/>
                </a:lnTo>
                <a:lnTo>
                  <a:pt x="0" y="0"/>
                </a:lnTo>
                <a:lnTo>
                  <a:pt x="0" y="317"/>
                </a:lnTo>
                <a:close/>
              </a:path>
            </a:pathLst>
          </a:custGeom>
          <a:gradFill>
            <a:gsLst>
              <a:gs pos="0">
                <a:srgbClr val="A8524C"/>
              </a:gs>
              <a:gs pos="100000">
                <a:srgbClr val="985154"/>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4" name="Freeform 20"/>
          <p:cNvSpPr>
            <a:spLocks/>
          </p:cNvSpPr>
          <p:nvPr userDrawn="1"/>
        </p:nvSpPr>
        <p:spPr bwMode="auto">
          <a:xfrm>
            <a:off x="1117398" y="648476"/>
            <a:ext cx="365303" cy="425605"/>
          </a:xfrm>
          <a:custGeom>
            <a:avLst/>
            <a:gdLst>
              <a:gd name="T0" fmla="*/ 0 w 272"/>
              <a:gd name="T1" fmla="*/ 317 h 317"/>
              <a:gd name="T2" fmla="*/ 272 w 272"/>
              <a:gd name="T3" fmla="*/ 159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9"/>
                </a:lnTo>
                <a:lnTo>
                  <a:pt x="0" y="0"/>
                </a:lnTo>
                <a:lnTo>
                  <a:pt x="0" y="317"/>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Freeform 21"/>
          <p:cNvSpPr>
            <a:spLocks/>
          </p:cNvSpPr>
          <p:nvPr userDrawn="1"/>
        </p:nvSpPr>
        <p:spPr bwMode="auto">
          <a:xfrm>
            <a:off x="3701382" y="1074080"/>
            <a:ext cx="730607" cy="425605"/>
          </a:xfrm>
          <a:custGeom>
            <a:avLst/>
            <a:gdLst>
              <a:gd name="T0" fmla="*/ 272 w 544"/>
              <a:gd name="T1" fmla="*/ 0 h 317"/>
              <a:gd name="T2" fmla="*/ 0 w 544"/>
              <a:gd name="T3" fmla="*/ 159 h 317"/>
              <a:gd name="T4" fmla="*/ 272 w 544"/>
              <a:gd name="T5" fmla="*/ 317 h 317"/>
              <a:gd name="T6" fmla="*/ 544 w 544"/>
              <a:gd name="T7" fmla="*/ 159 h 317"/>
              <a:gd name="T8" fmla="*/ 272 w 544"/>
              <a:gd name="T9" fmla="*/ 0 h 317"/>
            </a:gdLst>
            <a:ahLst/>
            <a:cxnLst>
              <a:cxn ang="0">
                <a:pos x="T0" y="T1"/>
              </a:cxn>
              <a:cxn ang="0">
                <a:pos x="T2" y="T3"/>
              </a:cxn>
              <a:cxn ang="0">
                <a:pos x="T4" y="T5"/>
              </a:cxn>
              <a:cxn ang="0">
                <a:pos x="T6" y="T7"/>
              </a:cxn>
              <a:cxn ang="0">
                <a:pos x="T8" y="T9"/>
              </a:cxn>
            </a:cxnLst>
            <a:rect l="0" t="0" r="r" b="b"/>
            <a:pathLst>
              <a:path w="544" h="317">
                <a:moveTo>
                  <a:pt x="272" y="0"/>
                </a:moveTo>
                <a:lnTo>
                  <a:pt x="0" y="159"/>
                </a:lnTo>
                <a:lnTo>
                  <a:pt x="272" y="317"/>
                </a:lnTo>
                <a:lnTo>
                  <a:pt x="544" y="159"/>
                </a:lnTo>
                <a:lnTo>
                  <a:pt x="272" y="0"/>
                </a:lnTo>
                <a:close/>
              </a:path>
            </a:pathLst>
          </a:custGeom>
          <a:gradFill>
            <a:gsLst>
              <a:gs pos="0">
                <a:srgbClr val="FEA044"/>
              </a:gs>
              <a:gs pos="100000">
                <a:srgbClr val="FE9842"/>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Freeform 22"/>
          <p:cNvSpPr>
            <a:spLocks/>
          </p:cNvSpPr>
          <p:nvPr userDrawn="1"/>
        </p:nvSpPr>
        <p:spPr bwMode="auto">
          <a:xfrm>
            <a:off x="735979" y="4285578"/>
            <a:ext cx="365303" cy="425605"/>
          </a:xfrm>
          <a:custGeom>
            <a:avLst/>
            <a:gdLst>
              <a:gd name="T0" fmla="*/ 0 w 272"/>
              <a:gd name="T1" fmla="*/ 317 h 317"/>
              <a:gd name="T2" fmla="*/ 272 w 272"/>
              <a:gd name="T3" fmla="*/ 158 h 317"/>
              <a:gd name="T4" fmla="*/ 0 w 272"/>
              <a:gd name="T5" fmla="*/ 0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272" y="158"/>
                </a:lnTo>
                <a:lnTo>
                  <a:pt x="0" y="0"/>
                </a:lnTo>
                <a:lnTo>
                  <a:pt x="0" y="317"/>
                </a:lnTo>
                <a:close/>
              </a:path>
            </a:pathLst>
          </a:custGeom>
          <a:gradFill>
            <a:gsLst>
              <a:gs pos="0">
                <a:srgbClr val="C45844"/>
              </a:gs>
              <a:gs pos="100000">
                <a:srgbClr val="B15449"/>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7" name="Freeform 23"/>
          <p:cNvSpPr>
            <a:spLocks/>
          </p:cNvSpPr>
          <p:nvPr userDrawn="1"/>
        </p:nvSpPr>
        <p:spPr bwMode="auto">
          <a:xfrm>
            <a:off x="4806694" y="6004106"/>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523E64"/>
              </a:gs>
              <a:gs pos="100000">
                <a:srgbClr val="413A69"/>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8" name="Freeform 24"/>
          <p:cNvSpPr>
            <a:spLocks/>
          </p:cNvSpPr>
          <p:nvPr userDrawn="1"/>
        </p:nvSpPr>
        <p:spPr bwMode="auto">
          <a:xfrm>
            <a:off x="1107998" y="5997393"/>
            <a:ext cx="365303" cy="425605"/>
          </a:xfrm>
          <a:custGeom>
            <a:avLst/>
            <a:gdLst>
              <a:gd name="T0" fmla="*/ 272 w 272"/>
              <a:gd name="T1" fmla="*/ 317 h 317"/>
              <a:gd name="T2" fmla="*/ 0 w 272"/>
              <a:gd name="T3" fmla="*/ 158 h 317"/>
              <a:gd name="T4" fmla="*/ 272 w 272"/>
              <a:gd name="T5" fmla="*/ 0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0" y="158"/>
                </a:lnTo>
                <a:lnTo>
                  <a:pt x="272" y="0"/>
                </a:lnTo>
                <a:lnTo>
                  <a:pt x="272" y="317"/>
                </a:lnTo>
                <a:close/>
              </a:path>
            </a:pathLst>
          </a:custGeom>
          <a:gradFill>
            <a:gsLst>
              <a:gs pos="0">
                <a:srgbClr val="523E64"/>
              </a:gs>
              <a:gs pos="100000">
                <a:srgbClr val="413A69"/>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9" name="Freeform 25"/>
          <p:cNvSpPr>
            <a:spLocks/>
          </p:cNvSpPr>
          <p:nvPr userDrawn="1"/>
        </p:nvSpPr>
        <p:spPr bwMode="auto">
          <a:xfrm>
            <a:off x="4431989" y="0"/>
            <a:ext cx="365303" cy="639077"/>
          </a:xfrm>
          <a:custGeom>
            <a:avLst/>
            <a:gdLst>
              <a:gd name="T0" fmla="*/ 272 w 272"/>
              <a:gd name="T1" fmla="*/ 476 h 476"/>
              <a:gd name="T2" fmla="*/ 0 w 272"/>
              <a:gd name="T3" fmla="*/ 322 h 476"/>
              <a:gd name="T4" fmla="*/ 0 w 272"/>
              <a:gd name="T5" fmla="*/ 0 h 476"/>
              <a:gd name="T6" fmla="*/ 272 w 272"/>
              <a:gd name="T7" fmla="*/ 159 h 476"/>
              <a:gd name="T8" fmla="*/ 272 w 272"/>
              <a:gd name="T9" fmla="*/ 476 h 476"/>
            </a:gdLst>
            <a:ahLst/>
            <a:cxnLst>
              <a:cxn ang="0">
                <a:pos x="T0" y="T1"/>
              </a:cxn>
              <a:cxn ang="0">
                <a:pos x="T2" y="T3"/>
              </a:cxn>
              <a:cxn ang="0">
                <a:pos x="T4" y="T5"/>
              </a:cxn>
              <a:cxn ang="0">
                <a:pos x="T6" y="T7"/>
              </a:cxn>
              <a:cxn ang="0">
                <a:pos x="T8" y="T9"/>
              </a:cxn>
            </a:cxnLst>
            <a:rect l="0" t="0" r="r" b="b"/>
            <a:pathLst>
              <a:path w="272" h="476">
                <a:moveTo>
                  <a:pt x="272" y="476"/>
                </a:moveTo>
                <a:lnTo>
                  <a:pt x="0" y="322"/>
                </a:lnTo>
                <a:lnTo>
                  <a:pt x="0" y="0"/>
                </a:lnTo>
                <a:lnTo>
                  <a:pt x="272" y="159"/>
                </a:lnTo>
                <a:lnTo>
                  <a:pt x="272" y="476"/>
                </a:lnTo>
                <a:close/>
              </a:path>
            </a:pathLst>
          </a:custGeom>
          <a:gradFill>
            <a:gsLst>
              <a:gs pos="0">
                <a:srgbClr val="FDBB4C"/>
              </a:gs>
              <a:gs pos="100000">
                <a:srgbClr val="FDAE49"/>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0" name="Freeform 27"/>
          <p:cNvSpPr>
            <a:spLocks/>
          </p:cNvSpPr>
          <p:nvPr userDrawn="1"/>
        </p:nvSpPr>
        <p:spPr bwMode="auto">
          <a:xfrm>
            <a:off x="1482702" y="436345"/>
            <a:ext cx="365303" cy="635050"/>
          </a:xfrm>
          <a:custGeom>
            <a:avLst/>
            <a:gdLst>
              <a:gd name="T0" fmla="*/ 272 w 272"/>
              <a:gd name="T1" fmla="*/ 158 h 473"/>
              <a:gd name="T2" fmla="*/ 0 w 272"/>
              <a:gd name="T3" fmla="*/ 0 h 473"/>
              <a:gd name="T4" fmla="*/ 0 w 272"/>
              <a:gd name="T5" fmla="*/ 317 h 473"/>
              <a:gd name="T6" fmla="*/ 272 w 272"/>
              <a:gd name="T7" fmla="*/ 473 h 473"/>
              <a:gd name="T8" fmla="*/ 272 w 272"/>
              <a:gd name="T9" fmla="*/ 158 h 473"/>
            </a:gdLst>
            <a:ahLst/>
            <a:cxnLst>
              <a:cxn ang="0">
                <a:pos x="T0" y="T1"/>
              </a:cxn>
              <a:cxn ang="0">
                <a:pos x="T2" y="T3"/>
              </a:cxn>
              <a:cxn ang="0">
                <a:pos x="T4" y="T5"/>
              </a:cxn>
              <a:cxn ang="0">
                <a:pos x="T6" y="T7"/>
              </a:cxn>
              <a:cxn ang="0">
                <a:pos x="T8" y="T9"/>
              </a:cxn>
            </a:cxnLst>
            <a:rect l="0" t="0" r="r" b="b"/>
            <a:pathLst>
              <a:path w="272" h="473">
                <a:moveTo>
                  <a:pt x="272" y="158"/>
                </a:moveTo>
                <a:lnTo>
                  <a:pt x="0" y="0"/>
                </a:lnTo>
                <a:lnTo>
                  <a:pt x="0" y="317"/>
                </a:lnTo>
                <a:lnTo>
                  <a:pt x="272" y="473"/>
                </a:lnTo>
                <a:lnTo>
                  <a:pt x="272" y="158"/>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1" name="Freeform 28"/>
          <p:cNvSpPr>
            <a:spLocks/>
          </p:cNvSpPr>
          <p:nvPr userDrawn="1"/>
        </p:nvSpPr>
        <p:spPr bwMode="auto">
          <a:xfrm>
            <a:off x="5171997" y="648476"/>
            <a:ext cx="729264" cy="641763"/>
          </a:xfrm>
          <a:custGeom>
            <a:avLst/>
            <a:gdLst>
              <a:gd name="T0" fmla="*/ 272 w 543"/>
              <a:gd name="T1" fmla="*/ 0 h 478"/>
              <a:gd name="T2" fmla="*/ 0 w 543"/>
              <a:gd name="T3" fmla="*/ 159 h 478"/>
              <a:gd name="T4" fmla="*/ 0 w 543"/>
              <a:gd name="T5" fmla="*/ 478 h 478"/>
              <a:gd name="T6" fmla="*/ 272 w 543"/>
              <a:gd name="T7" fmla="*/ 319 h 478"/>
              <a:gd name="T8" fmla="*/ 543 w 543"/>
              <a:gd name="T9" fmla="*/ 159 h 478"/>
              <a:gd name="T10" fmla="*/ 272 w 543"/>
              <a:gd name="T11" fmla="*/ 0 h 478"/>
            </a:gdLst>
            <a:ahLst/>
            <a:cxnLst>
              <a:cxn ang="0">
                <a:pos x="T0" y="T1"/>
              </a:cxn>
              <a:cxn ang="0">
                <a:pos x="T2" y="T3"/>
              </a:cxn>
              <a:cxn ang="0">
                <a:pos x="T4" y="T5"/>
              </a:cxn>
              <a:cxn ang="0">
                <a:pos x="T6" y="T7"/>
              </a:cxn>
              <a:cxn ang="0">
                <a:pos x="T8" y="T9"/>
              </a:cxn>
              <a:cxn ang="0">
                <a:pos x="T10" y="T11"/>
              </a:cxn>
            </a:cxnLst>
            <a:rect l="0" t="0" r="r" b="b"/>
            <a:pathLst>
              <a:path w="543" h="478">
                <a:moveTo>
                  <a:pt x="272" y="0"/>
                </a:moveTo>
                <a:lnTo>
                  <a:pt x="0" y="159"/>
                </a:lnTo>
                <a:lnTo>
                  <a:pt x="0" y="478"/>
                </a:lnTo>
                <a:lnTo>
                  <a:pt x="272" y="319"/>
                </a:lnTo>
                <a:lnTo>
                  <a:pt x="543" y="159"/>
                </a:lnTo>
                <a:lnTo>
                  <a:pt x="272" y="0"/>
                </a:lnTo>
                <a:close/>
              </a:path>
            </a:pathLst>
          </a:custGeom>
          <a:gradFill>
            <a:gsLst>
              <a:gs pos="0">
                <a:srgbClr val="FDB049"/>
              </a:gs>
              <a:gs pos="100000">
                <a:srgbClr val="FEA345"/>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2" name="Freeform 29"/>
          <p:cNvSpPr>
            <a:spLocks/>
          </p:cNvSpPr>
          <p:nvPr userDrawn="1"/>
        </p:nvSpPr>
        <p:spPr bwMode="auto">
          <a:xfrm>
            <a:off x="4066686" y="2360290"/>
            <a:ext cx="730607" cy="641763"/>
          </a:xfrm>
          <a:custGeom>
            <a:avLst/>
            <a:gdLst>
              <a:gd name="T0" fmla="*/ 272 w 544"/>
              <a:gd name="T1" fmla="*/ 478 h 478"/>
              <a:gd name="T2" fmla="*/ 0 w 544"/>
              <a:gd name="T3" fmla="*/ 320 h 478"/>
              <a:gd name="T4" fmla="*/ 0 w 544"/>
              <a:gd name="T5" fmla="*/ 0 h 478"/>
              <a:gd name="T6" fmla="*/ 272 w 544"/>
              <a:gd name="T7" fmla="*/ 159 h 478"/>
              <a:gd name="T8" fmla="*/ 544 w 544"/>
              <a:gd name="T9" fmla="*/ 320 h 478"/>
              <a:gd name="T10" fmla="*/ 272 w 544"/>
              <a:gd name="T11" fmla="*/ 478 h 478"/>
            </a:gdLst>
            <a:ahLst/>
            <a:cxnLst>
              <a:cxn ang="0">
                <a:pos x="T0" y="T1"/>
              </a:cxn>
              <a:cxn ang="0">
                <a:pos x="T2" y="T3"/>
              </a:cxn>
              <a:cxn ang="0">
                <a:pos x="T4" y="T5"/>
              </a:cxn>
              <a:cxn ang="0">
                <a:pos x="T6" y="T7"/>
              </a:cxn>
              <a:cxn ang="0">
                <a:pos x="T8" y="T9"/>
              </a:cxn>
              <a:cxn ang="0">
                <a:pos x="T10" y="T11"/>
              </a:cxn>
            </a:cxnLst>
            <a:rect l="0" t="0" r="r" b="b"/>
            <a:pathLst>
              <a:path w="544" h="478">
                <a:moveTo>
                  <a:pt x="272" y="478"/>
                </a:moveTo>
                <a:lnTo>
                  <a:pt x="0" y="320"/>
                </a:lnTo>
                <a:lnTo>
                  <a:pt x="0" y="0"/>
                </a:lnTo>
                <a:lnTo>
                  <a:pt x="272" y="159"/>
                </a:lnTo>
                <a:lnTo>
                  <a:pt x="544" y="320"/>
                </a:lnTo>
                <a:lnTo>
                  <a:pt x="272" y="478"/>
                </a:lnTo>
                <a:close/>
              </a:path>
            </a:pathLst>
          </a:custGeom>
          <a:gradFill>
            <a:gsLst>
              <a:gs pos="0">
                <a:srgbClr val="FE7F3A"/>
              </a:gs>
              <a:gs pos="100000">
                <a:srgbClr val="FF6D35"/>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3" name="Picture Placeholder 37">
            <a:extLst>
              <a:ext uri="{FF2B5EF4-FFF2-40B4-BE49-F238E27FC236}">
                <a16:creationId xmlns:a16="http://schemas.microsoft.com/office/drawing/2014/main" id="{B27FB25A-25C1-1145-91A1-08CB3FC40AE3}"/>
              </a:ext>
            </a:extLst>
          </p:cNvPr>
          <p:cNvSpPr>
            <a:spLocks noGrp="1"/>
          </p:cNvSpPr>
          <p:nvPr>
            <p:ph type="pic" sz="quarter" idx="10"/>
          </p:nvPr>
        </p:nvSpPr>
        <p:spPr>
          <a:xfrm>
            <a:off x="2" y="0"/>
            <a:ext cx="7121235" cy="6857999"/>
          </a:xfrm>
          <a:custGeom>
            <a:avLst/>
            <a:gdLst>
              <a:gd name="connsiteX0" fmla="*/ 1467955 w 7121235"/>
              <a:gd name="connsiteY0" fmla="*/ 6003620 h 6857999"/>
              <a:gd name="connsiteX1" fmla="*/ 1113343 w 7121235"/>
              <a:gd name="connsiteY1" fmla="*/ 6209544 h 6857999"/>
              <a:gd name="connsiteX2" fmla="*/ 1467955 w 7121235"/>
              <a:gd name="connsiteY2" fmla="*/ 6416770 h 6857999"/>
              <a:gd name="connsiteX3" fmla="*/ 4431990 w 7121235"/>
              <a:gd name="connsiteY3" fmla="*/ 5571788 h 6857999"/>
              <a:gd name="connsiteX4" fmla="*/ 4797292 w 7121235"/>
              <a:gd name="connsiteY4" fmla="*/ 5783919 h 6857999"/>
              <a:gd name="connsiteX5" fmla="*/ 4431990 w 7121235"/>
              <a:gd name="connsiteY5" fmla="*/ 5997393 h 6857999"/>
              <a:gd name="connsiteX6" fmla="*/ 370677 w 7121235"/>
              <a:gd name="connsiteY6" fmla="*/ 4927340 h 6857999"/>
              <a:gd name="connsiteX7" fmla="*/ 370677 w 7121235"/>
              <a:gd name="connsiteY7" fmla="*/ 5352945 h 6857999"/>
              <a:gd name="connsiteX8" fmla="*/ 2688 w 7121235"/>
              <a:gd name="connsiteY8" fmla="*/ 5139471 h 6857999"/>
              <a:gd name="connsiteX9" fmla="*/ 4434628 w 7121235"/>
              <a:gd name="connsiteY9" fmla="*/ 4724122 h 6857999"/>
              <a:gd name="connsiteX10" fmla="*/ 4434628 w 7121235"/>
              <a:gd name="connsiteY10" fmla="*/ 5137272 h 6857999"/>
              <a:gd name="connsiteX11" fmla="*/ 4787938 w 7121235"/>
              <a:gd name="connsiteY11" fmla="*/ 4930046 h 6857999"/>
              <a:gd name="connsiteX12" fmla="*/ 4812039 w 7121235"/>
              <a:gd name="connsiteY12" fmla="*/ 4078332 h 6857999"/>
              <a:gd name="connsiteX13" fmla="*/ 4812039 w 7121235"/>
              <a:gd name="connsiteY13" fmla="*/ 4491482 h 6857999"/>
              <a:gd name="connsiteX14" fmla="*/ 5166651 w 7121235"/>
              <a:gd name="connsiteY14" fmla="*/ 4285559 h 6857999"/>
              <a:gd name="connsiteX15" fmla="*/ 6275966 w 7121235"/>
              <a:gd name="connsiteY15" fmla="*/ 3218212 h 6857999"/>
              <a:gd name="connsiteX16" fmla="*/ 6275966 w 7121235"/>
              <a:gd name="connsiteY16" fmla="*/ 3643816 h 6857999"/>
              <a:gd name="connsiteX17" fmla="*/ 5912006 w 7121235"/>
              <a:gd name="connsiteY17" fmla="*/ 3430342 h 6857999"/>
              <a:gd name="connsiteX18" fmla="*/ 370677 w 7121235"/>
              <a:gd name="connsiteY18" fmla="*/ 3218212 h 6857999"/>
              <a:gd name="connsiteX19" fmla="*/ 735980 w 7121235"/>
              <a:gd name="connsiteY19" fmla="*/ 3430342 h 6857999"/>
              <a:gd name="connsiteX20" fmla="*/ 735980 w 7121235"/>
              <a:gd name="connsiteY20" fmla="*/ 4285578 h 6857999"/>
              <a:gd name="connsiteX21" fmla="*/ 370677 w 7121235"/>
              <a:gd name="connsiteY21" fmla="*/ 4076133 h 6857999"/>
              <a:gd name="connsiteX22" fmla="*/ 1481333 w 7121235"/>
              <a:gd name="connsiteY22" fmla="*/ 2579992 h 6857999"/>
              <a:gd name="connsiteX23" fmla="*/ 1481333 w 7121235"/>
              <a:gd name="connsiteY23" fmla="*/ 2993142 h 6857999"/>
              <a:gd name="connsiteX24" fmla="*/ 1835945 w 7121235"/>
              <a:gd name="connsiteY24" fmla="*/ 2785915 h 6857999"/>
              <a:gd name="connsiteX25" fmla="*/ 4077377 w 7121235"/>
              <a:gd name="connsiteY25" fmla="*/ 2369681 h 6857999"/>
              <a:gd name="connsiteX26" fmla="*/ 4077377 w 7121235"/>
              <a:gd name="connsiteY26" fmla="*/ 2786739 h 6857999"/>
              <a:gd name="connsiteX27" fmla="*/ 4431989 w 7121235"/>
              <a:gd name="connsiteY27" fmla="*/ 2992661 h 6857999"/>
              <a:gd name="connsiteX28" fmla="*/ 4786601 w 7121235"/>
              <a:gd name="connsiteY28" fmla="*/ 2786739 h 6857999"/>
              <a:gd name="connsiteX29" fmla="*/ 4431989 w 7121235"/>
              <a:gd name="connsiteY29" fmla="*/ 2576907 h 6857999"/>
              <a:gd name="connsiteX30" fmla="*/ 1102652 w 7121235"/>
              <a:gd name="connsiteY30" fmla="*/ 1508656 h 6857999"/>
              <a:gd name="connsiteX31" fmla="*/ 748040 w 7121235"/>
              <a:gd name="connsiteY31" fmla="*/ 1718488 h 6857999"/>
              <a:gd name="connsiteX32" fmla="*/ 1102652 w 7121235"/>
              <a:gd name="connsiteY32" fmla="*/ 1925714 h 6857999"/>
              <a:gd name="connsiteX33" fmla="*/ 5171998 w 7121235"/>
              <a:gd name="connsiteY33" fmla="*/ 1290240 h 6857999"/>
              <a:gd name="connsiteX34" fmla="*/ 5537301 w 7121235"/>
              <a:gd name="connsiteY34" fmla="*/ 1502371 h 6857999"/>
              <a:gd name="connsiteX35" fmla="*/ 5171998 w 7121235"/>
              <a:gd name="connsiteY35" fmla="*/ 1715844 h 6857999"/>
              <a:gd name="connsiteX36" fmla="*/ 4066685 w 7121235"/>
              <a:gd name="connsiteY36" fmla="*/ 1080308 h 6857999"/>
              <a:gd name="connsiteX37" fmla="*/ 3712073 w 7121235"/>
              <a:gd name="connsiteY37" fmla="*/ 1287534 h 6857999"/>
              <a:gd name="connsiteX38" fmla="*/ 4066685 w 7121235"/>
              <a:gd name="connsiteY38" fmla="*/ 1493458 h 6857999"/>
              <a:gd name="connsiteX39" fmla="*/ 4421297 w 7121235"/>
              <a:gd name="connsiteY39" fmla="*/ 1287534 h 6857999"/>
              <a:gd name="connsiteX40" fmla="*/ 1122744 w 7121235"/>
              <a:gd name="connsiteY40" fmla="*/ 654703 h 6857999"/>
              <a:gd name="connsiteX41" fmla="*/ 1122744 w 7121235"/>
              <a:gd name="connsiteY41" fmla="*/ 1067854 h 6857999"/>
              <a:gd name="connsiteX42" fmla="*/ 1477356 w 7121235"/>
              <a:gd name="connsiteY42" fmla="*/ 861930 h 6857999"/>
              <a:gd name="connsiteX43" fmla="*/ 370677 w 7121235"/>
              <a:gd name="connsiteY43" fmla="*/ 645792 h 6857999"/>
              <a:gd name="connsiteX44" fmla="*/ 735980 w 7121235"/>
              <a:gd name="connsiteY44" fmla="*/ 857923 h 6857999"/>
              <a:gd name="connsiteX45" fmla="*/ 370677 w 7121235"/>
              <a:gd name="connsiteY45" fmla="*/ 1071397 h 6857999"/>
              <a:gd name="connsiteX46" fmla="*/ 1488047 w 7121235"/>
              <a:gd name="connsiteY46" fmla="*/ 445638 h 6857999"/>
              <a:gd name="connsiteX47" fmla="*/ 1488047 w 7121235"/>
              <a:gd name="connsiteY47" fmla="*/ 858785 h 6857999"/>
              <a:gd name="connsiteX48" fmla="*/ 1842659 w 7121235"/>
              <a:gd name="connsiteY48" fmla="*/ 1062100 h 6857999"/>
              <a:gd name="connsiteX49" fmla="*/ 1842659 w 7121235"/>
              <a:gd name="connsiteY49" fmla="*/ 651560 h 6857999"/>
              <a:gd name="connsiteX50" fmla="*/ 2 w 7121235"/>
              <a:gd name="connsiteY50" fmla="*/ 1 h 6857999"/>
              <a:gd name="connsiteX51" fmla="*/ 2 w 7121235"/>
              <a:gd name="connsiteY51" fmla="*/ 4285577 h 6857999"/>
              <a:gd name="connsiteX52" fmla="*/ 2 w 7121235"/>
              <a:gd name="connsiteY52" fmla="*/ 4292290 h 6857999"/>
              <a:gd name="connsiteX53" fmla="*/ 365306 w 7121235"/>
              <a:gd name="connsiteY53" fmla="*/ 4504421 h 6857999"/>
              <a:gd name="connsiteX54" fmla="*/ 2 w 7121235"/>
              <a:gd name="connsiteY54" fmla="*/ 4717894 h 6857999"/>
              <a:gd name="connsiteX55" fmla="*/ 2 w 7121235"/>
              <a:gd name="connsiteY55" fmla="*/ 6857998 h 6857999"/>
              <a:gd name="connsiteX56" fmla="*/ 738668 w 7121235"/>
              <a:gd name="connsiteY56" fmla="*/ 6857998 h 6857999"/>
              <a:gd name="connsiteX57" fmla="*/ 738668 w 7121235"/>
              <a:gd name="connsiteY57" fmla="*/ 6425681 h 6857999"/>
              <a:gd name="connsiteX58" fmla="*/ 367992 w 7121235"/>
              <a:gd name="connsiteY58" fmla="*/ 6641840 h 6857999"/>
              <a:gd name="connsiteX59" fmla="*/ 367992 w 7121235"/>
              <a:gd name="connsiteY59" fmla="*/ 6216236 h 6857999"/>
              <a:gd name="connsiteX60" fmla="*/ 1108000 w 7121235"/>
              <a:gd name="connsiteY60" fmla="*/ 5783919 h 6857999"/>
              <a:gd name="connsiteX61" fmla="*/ 1108000 w 7121235"/>
              <a:gd name="connsiteY61" fmla="*/ 2789923 h 6857999"/>
              <a:gd name="connsiteX62" fmla="*/ 735981 w 7121235"/>
              <a:gd name="connsiteY62" fmla="*/ 2573765 h 6857999"/>
              <a:gd name="connsiteX63" fmla="*/ 735981 w 7121235"/>
              <a:gd name="connsiteY63" fmla="*/ 2141448 h 6857999"/>
              <a:gd name="connsiteX64" fmla="*/ 367992 w 7121235"/>
              <a:gd name="connsiteY64" fmla="*/ 1927974 h 6857999"/>
              <a:gd name="connsiteX65" fmla="*/ 367992 w 7121235"/>
              <a:gd name="connsiteY65" fmla="*/ 1499685 h 6857999"/>
              <a:gd name="connsiteX66" fmla="*/ 738668 w 7121235"/>
              <a:gd name="connsiteY66" fmla="*/ 1287554 h 6857999"/>
              <a:gd name="connsiteX67" fmla="*/ 738668 w 7121235"/>
              <a:gd name="connsiteY67" fmla="*/ 1 h 6857999"/>
              <a:gd name="connsiteX68" fmla="*/ 735981 w 7121235"/>
              <a:gd name="connsiteY68" fmla="*/ 1 h 6857999"/>
              <a:gd name="connsiteX69" fmla="*/ 0 w 7121235"/>
              <a:gd name="connsiteY69" fmla="*/ 0 h 6857999"/>
              <a:gd name="connsiteX70" fmla="*/ 7121235 w 7121235"/>
              <a:gd name="connsiteY70" fmla="*/ 0 h 6857999"/>
              <a:gd name="connsiteX71" fmla="*/ 7121235 w 7121235"/>
              <a:gd name="connsiteY71" fmla="*/ 1 h 6857999"/>
              <a:gd name="connsiteX72" fmla="*/ 2958692 w 7121235"/>
              <a:gd name="connsiteY72" fmla="*/ 1 h 6857999"/>
              <a:gd name="connsiteX73" fmla="*/ 4431990 w 7121235"/>
              <a:gd name="connsiteY73" fmla="*/ 857922 h 6857999"/>
              <a:gd name="connsiteX74" fmla="*/ 4431990 w 7121235"/>
              <a:gd name="connsiteY74" fmla="*/ 1292925 h 6857999"/>
              <a:gd name="connsiteX75" fmla="*/ 4793265 w 7121235"/>
              <a:gd name="connsiteY75" fmla="*/ 1502370 h 6857999"/>
              <a:gd name="connsiteX76" fmla="*/ 4793265 w 7121235"/>
              <a:gd name="connsiteY76" fmla="*/ 1934687 h 6857999"/>
              <a:gd name="connsiteX77" fmla="*/ 5165283 w 7121235"/>
              <a:gd name="connsiteY77" fmla="*/ 2148161 h 6857999"/>
              <a:gd name="connsiteX78" fmla="*/ 5165283 w 7121235"/>
              <a:gd name="connsiteY78" fmla="*/ 3427657 h 6857999"/>
              <a:gd name="connsiteX79" fmla="*/ 5537301 w 7121235"/>
              <a:gd name="connsiteY79" fmla="*/ 3641129 h 6857999"/>
              <a:gd name="connsiteX80" fmla="*/ 5537301 w 7121235"/>
              <a:gd name="connsiteY80" fmla="*/ 4927340 h 6857999"/>
              <a:gd name="connsiteX81" fmla="*/ 3691984 w 7121235"/>
              <a:gd name="connsiteY81" fmla="*/ 6000077 h 6857999"/>
              <a:gd name="connsiteX82" fmla="*/ 3691984 w 7121235"/>
              <a:gd name="connsiteY82" fmla="*/ 6848600 h 6857999"/>
              <a:gd name="connsiteX83" fmla="*/ 3691984 w 7121235"/>
              <a:gd name="connsiteY83" fmla="*/ 6857998 h 6857999"/>
              <a:gd name="connsiteX84" fmla="*/ 4431990 w 7121235"/>
              <a:gd name="connsiteY84" fmla="*/ 6857998 h 6857999"/>
              <a:gd name="connsiteX85" fmla="*/ 4431990 w 7121235"/>
              <a:gd name="connsiteY85" fmla="*/ 6429709 h 6857999"/>
              <a:gd name="connsiteX86" fmla="*/ 4797292 w 7121235"/>
              <a:gd name="connsiteY86" fmla="*/ 6641840 h 6857999"/>
              <a:gd name="connsiteX87" fmla="*/ 4431992 w 7121235"/>
              <a:gd name="connsiteY87" fmla="*/ 6857998 h 6857999"/>
              <a:gd name="connsiteX88" fmla="*/ 7121235 w 7121235"/>
              <a:gd name="connsiteY88" fmla="*/ 6857998 h 6857999"/>
              <a:gd name="connsiteX89" fmla="*/ 7121235 w 7121235"/>
              <a:gd name="connsiteY89" fmla="*/ 6857999 h 6857999"/>
              <a:gd name="connsiteX90" fmla="*/ 0 w 7121235"/>
              <a:gd name="connsiteY9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21235" h="6857999">
                <a:moveTo>
                  <a:pt x="1467955" y="6003620"/>
                </a:moveTo>
                <a:lnTo>
                  <a:pt x="1113343" y="6209544"/>
                </a:lnTo>
                <a:lnTo>
                  <a:pt x="1467955" y="6416770"/>
                </a:lnTo>
                <a:close/>
                <a:moveTo>
                  <a:pt x="4431990" y="5571788"/>
                </a:moveTo>
                <a:lnTo>
                  <a:pt x="4797292" y="5783919"/>
                </a:lnTo>
                <a:lnTo>
                  <a:pt x="4431990" y="5997393"/>
                </a:lnTo>
                <a:close/>
                <a:moveTo>
                  <a:pt x="370677" y="4927340"/>
                </a:moveTo>
                <a:lnTo>
                  <a:pt x="370677" y="5352945"/>
                </a:lnTo>
                <a:lnTo>
                  <a:pt x="2688" y="5139471"/>
                </a:lnTo>
                <a:close/>
                <a:moveTo>
                  <a:pt x="4434628" y="4724122"/>
                </a:moveTo>
                <a:lnTo>
                  <a:pt x="4434628" y="5137272"/>
                </a:lnTo>
                <a:lnTo>
                  <a:pt x="4787938" y="4930046"/>
                </a:lnTo>
                <a:close/>
                <a:moveTo>
                  <a:pt x="4812039" y="4078332"/>
                </a:moveTo>
                <a:lnTo>
                  <a:pt x="4812039" y="4491482"/>
                </a:lnTo>
                <a:lnTo>
                  <a:pt x="5166651" y="4285559"/>
                </a:lnTo>
                <a:close/>
                <a:moveTo>
                  <a:pt x="6275966" y="3218212"/>
                </a:moveTo>
                <a:lnTo>
                  <a:pt x="6275966" y="3643816"/>
                </a:lnTo>
                <a:lnTo>
                  <a:pt x="5912006" y="3430342"/>
                </a:lnTo>
                <a:close/>
                <a:moveTo>
                  <a:pt x="370677" y="3218212"/>
                </a:moveTo>
                <a:lnTo>
                  <a:pt x="735980" y="3430342"/>
                </a:lnTo>
                <a:lnTo>
                  <a:pt x="735980" y="4285578"/>
                </a:lnTo>
                <a:lnTo>
                  <a:pt x="370677" y="4076133"/>
                </a:lnTo>
                <a:close/>
                <a:moveTo>
                  <a:pt x="1481333" y="2579992"/>
                </a:moveTo>
                <a:lnTo>
                  <a:pt x="1481333" y="2993142"/>
                </a:lnTo>
                <a:lnTo>
                  <a:pt x="1835945" y="2785915"/>
                </a:lnTo>
                <a:close/>
                <a:moveTo>
                  <a:pt x="4077377" y="2369681"/>
                </a:moveTo>
                <a:lnTo>
                  <a:pt x="4077377" y="2786739"/>
                </a:lnTo>
                <a:lnTo>
                  <a:pt x="4431989" y="2992661"/>
                </a:lnTo>
                <a:lnTo>
                  <a:pt x="4786601" y="2786739"/>
                </a:lnTo>
                <a:lnTo>
                  <a:pt x="4431989" y="2576907"/>
                </a:lnTo>
                <a:close/>
                <a:moveTo>
                  <a:pt x="1102652" y="1508656"/>
                </a:moveTo>
                <a:lnTo>
                  <a:pt x="748040" y="1718488"/>
                </a:lnTo>
                <a:lnTo>
                  <a:pt x="1102652" y="1925714"/>
                </a:lnTo>
                <a:close/>
                <a:moveTo>
                  <a:pt x="5171998" y="1290240"/>
                </a:moveTo>
                <a:lnTo>
                  <a:pt x="5537301" y="1502371"/>
                </a:lnTo>
                <a:lnTo>
                  <a:pt x="5171998" y="1715844"/>
                </a:lnTo>
                <a:close/>
                <a:moveTo>
                  <a:pt x="4066685" y="1080308"/>
                </a:moveTo>
                <a:lnTo>
                  <a:pt x="3712073" y="1287534"/>
                </a:lnTo>
                <a:lnTo>
                  <a:pt x="4066685" y="1493458"/>
                </a:lnTo>
                <a:lnTo>
                  <a:pt x="4421297" y="1287534"/>
                </a:lnTo>
                <a:close/>
                <a:moveTo>
                  <a:pt x="1122744" y="654703"/>
                </a:moveTo>
                <a:lnTo>
                  <a:pt x="1122744" y="1067854"/>
                </a:lnTo>
                <a:lnTo>
                  <a:pt x="1477356" y="861930"/>
                </a:lnTo>
                <a:close/>
                <a:moveTo>
                  <a:pt x="370677" y="645792"/>
                </a:moveTo>
                <a:lnTo>
                  <a:pt x="735980" y="857923"/>
                </a:lnTo>
                <a:lnTo>
                  <a:pt x="370677" y="1071397"/>
                </a:lnTo>
                <a:close/>
                <a:moveTo>
                  <a:pt x="1488047" y="445638"/>
                </a:moveTo>
                <a:lnTo>
                  <a:pt x="1488047" y="858785"/>
                </a:lnTo>
                <a:lnTo>
                  <a:pt x="1842659" y="1062100"/>
                </a:lnTo>
                <a:lnTo>
                  <a:pt x="1842659" y="651560"/>
                </a:lnTo>
                <a:close/>
                <a:moveTo>
                  <a:pt x="2" y="1"/>
                </a:moveTo>
                <a:lnTo>
                  <a:pt x="2" y="4285577"/>
                </a:lnTo>
                <a:lnTo>
                  <a:pt x="2" y="4292290"/>
                </a:lnTo>
                <a:lnTo>
                  <a:pt x="365306" y="4504421"/>
                </a:lnTo>
                <a:lnTo>
                  <a:pt x="2" y="4717894"/>
                </a:lnTo>
                <a:lnTo>
                  <a:pt x="2" y="6857998"/>
                </a:lnTo>
                <a:lnTo>
                  <a:pt x="738668" y="6857998"/>
                </a:lnTo>
                <a:lnTo>
                  <a:pt x="738668" y="6425681"/>
                </a:lnTo>
                <a:lnTo>
                  <a:pt x="367992" y="6641840"/>
                </a:lnTo>
                <a:lnTo>
                  <a:pt x="367992" y="6216236"/>
                </a:lnTo>
                <a:lnTo>
                  <a:pt x="1108000" y="5783919"/>
                </a:lnTo>
                <a:lnTo>
                  <a:pt x="1108000" y="2789923"/>
                </a:lnTo>
                <a:lnTo>
                  <a:pt x="735981" y="2573765"/>
                </a:lnTo>
                <a:lnTo>
                  <a:pt x="735981" y="2141448"/>
                </a:lnTo>
                <a:lnTo>
                  <a:pt x="367992" y="1927974"/>
                </a:lnTo>
                <a:lnTo>
                  <a:pt x="367992" y="1499685"/>
                </a:lnTo>
                <a:lnTo>
                  <a:pt x="738668" y="1287554"/>
                </a:lnTo>
                <a:lnTo>
                  <a:pt x="738668" y="1"/>
                </a:lnTo>
                <a:lnTo>
                  <a:pt x="735981" y="1"/>
                </a:lnTo>
                <a:close/>
                <a:moveTo>
                  <a:pt x="0" y="0"/>
                </a:moveTo>
                <a:lnTo>
                  <a:pt x="7121235" y="0"/>
                </a:lnTo>
                <a:lnTo>
                  <a:pt x="7121235" y="1"/>
                </a:lnTo>
                <a:lnTo>
                  <a:pt x="2958692" y="1"/>
                </a:lnTo>
                <a:lnTo>
                  <a:pt x="4431990" y="857922"/>
                </a:lnTo>
                <a:lnTo>
                  <a:pt x="4431990" y="1292925"/>
                </a:lnTo>
                <a:lnTo>
                  <a:pt x="4793265" y="1502370"/>
                </a:lnTo>
                <a:lnTo>
                  <a:pt x="4793265" y="1934687"/>
                </a:lnTo>
                <a:lnTo>
                  <a:pt x="5165283" y="2148161"/>
                </a:lnTo>
                <a:lnTo>
                  <a:pt x="5165283" y="3427657"/>
                </a:lnTo>
                <a:lnTo>
                  <a:pt x="5537301" y="3641129"/>
                </a:lnTo>
                <a:lnTo>
                  <a:pt x="5537301" y="4927340"/>
                </a:lnTo>
                <a:lnTo>
                  <a:pt x="3691984" y="6000077"/>
                </a:lnTo>
                <a:lnTo>
                  <a:pt x="3691984" y="6848600"/>
                </a:lnTo>
                <a:lnTo>
                  <a:pt x="3691984" y="6857998"/>
                </a:lnTo>
                <a:lnTo>
                  <a:pt x="4431990" y="6857998"/>
                </a:lnTo>
                <a:lnTo>
                  <a:pt x="4431990" y="6429709"/>
                </a:lnTo>
                <a:lnTo>
                  <a:pt x="4797292" y="6641840"/>
                </a:lnTo>
                <a:lnTo>
                  <a:pt x="4431992" y="6857998"/>
                </a:lnTo>
                <a:lnTo>
                  <a:pt x="7121235" y="6857998"/>
                </a:lnTo>
                <a:lnTo>
                  <a:pt x="7121235" y="6857999"/>
                </a:lnTo>
                <a:lnTo>
                  <a:pt x="0" y="6857999"/>
                </a:lnTo>
                <a:close/>
              </a:path>
            </a:pathLst>
          </a:custGeom>
        </p:spPr>
        <p:txBody>
          <a:bodyPr wrap="square">
            <a:noAutofit/>
          </a:bodyPr>
          <a:lstStyle>
            <a:lvl1pPr marL="0" indent="0">
              <a:buNone/>
              <a:defRPr sz="120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to add picture</a:t>
            </a:r>
            <a:endParaRPr lang="ar-SA"/>
          </a:p>
        </p:txBody>
      </p:sp>
      <p:sp>
        <p:nvSpPr>
          <p:cNvPr id="34" name="Title 1">
            <a:extLst>
              <a:ext uri="{FF2B5EF4-FFF2-40B4-BE49-F238E27FC236}">
                <a16:creationId xmlns:a16="http://schemas.microsoft.com/office/drawing/2014/main" id="{31BBA778-64E4-9C4C-8806-1A8C377A972B}"/>
              </a:ext>
            </a:extLst>
          </p:cNvPr>
          <p:cNvSpPr>
            <a:spLocks noGrp="1"/>
          </p:cNvSpPr>
          <p:nvPr>
            <p:ph type="title" hasCustomPrompt="1"/>
          </p:nvPr>
        </p:nvSpPr>
        <p:spPr>
          <a:xfrm>
            <a:off x="7799185" y="1658320"/>
            <a:ext cx="3179763" cy="1913364"/>
          </a:xfrm>
        </p:spPr>
        <p:txBody>
          <a:bodyPr lIns="0" tIns="0" rIns="0" bIns="0" anchor="b">
            <a:noAutofit/>
          </a:bodyPr>
          <a:lstStyle>
            <a:lvl1pPr>
              <a:defRPr sz="4400" b="1">
                <a:latin typeface="Arial" panose="020B0604020202020204" pitchFamily="34" charset="0"/>
                <a:ea typeface="+mj-ea"/>
                <a:cs typeface="Arial" panose="020B0604020202020204" pitchFamily="34" charset="0"/>
                <a:sym typeface="Arial" panose="020B0604020202020204" pitchFamily="34" charset="0"/>
              </a:defRPr>
            </a:lvl1pPr>
          </a:lstStyle>
          <a:p>
            <a:r>
              <a:rPr lang="en-US"/>
              <a:t>Divider title goes here</a:t>
            </a:r>
            <a:endParaRPr lang="ar-SA"/>
          </a:p>
        </p:txBody>
      </p:sp>
      <p:sp>
        <p:nvSpPr>
          <p:cNvPr id="35" name="Text Placeholder 2">
            <a:extLst>
              <a:ext uri="{FF2B5EF4-FFF2-40B4-BE49-F238E27FC236}">
                <a16:creationId xmlns:a16="http://schemas.microsoft.com/office/drawing/2014/main" id="{F91C9796-CB07-194B-B62D-8AC12B657E13}"/>
              </a:ext>
            </a:extLst>
          </p:cNvPr>
          <p:cNvSpPr>
            <a:spLocks noGrp="1"/>
          </p:cNvSpPr>
          <p:nvPr>
            <p:ph type="body" idx="1" hasCustomPrompt="1"/>
          </p:nvPr>
        </p:nvSpPr>
        <p:spPr>
          <a:xfrm>
            <a:off x="7799184" y="3768851"/>
            <a:ext cx="3179763" cy="1140182"/>
          </a:xfrm>
        </p:spPr>
        <p:txBody>
          <a:bodyPr lIns="0" tIns="0" rIns="0" bIns="0">
            <a:noAutofit/>
          </a:bodyPr>
          <a:lstStyle>
            <a:lvl1pPr marL="0" indent="0">
              <a:buNone/>
              <a:defRPr sz="20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Tree>
    <p:extLst>
      <p:ext uri="{BB962C8B-B14F-4D97-AF65-F5344CB8AC3E}">
        <p14:creationId xmlns:p14="http://schemas.microsoft.com/office/powerpoint/2010/main" val="1939915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slide with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84"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985D392-8695-4E80-ACA0-E9368BC8B06C}"/>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reeform 9"/>
          <p:cNvSpPr>
            <a:spLocks/>
          </p:cNvSpPr>
          <p:nvPr userDrawn="1"/>
        </p:nvSpPr>
        <p:spPr bwMode="auto">
          <a:xfrm>
            <a:off x="-1" y="-1"/>
            <a:ext cx="12197674" cy="6858000"/>
          </a:xfrm>
          <a:custGeom>
            <a:avLst/>
            <a:gdLst>
              <a:gd name="connsiteX0" fmla="*/ 4065892 w 12197674"/>
              <a:gd name="connsiteY0" fmla="*/ 5358485 h 6858000"/>
              <a:gd name="connsiteX1" fmla="*/ 3700420 w 12197674"/>
              <a:gd name="connsiteY1" fmla="*/ 5570782 h 6858000"/>
              <a:gd name="connsiteX2" fmla="*/ 4065892 w 12197674"/>
              <a:gd name="connsiteY2" fmla="*/ 5784423 h 6858000"/>
              <a:gd name="connsiteX3" fmla="*/ 4436741 w 12197674"/>
              <a:gd name="connsiteY3" fmla="*/ 3431688 h 6858000"/>
              <a:gd name="connsiteX4" fmla="*/ 4068580 w 12197674"/>
              <a:gd name="connsiteY4" fmla="*/ 3645329 h 6858000"/>
              <a:gd name="connsiteX5" fmla="*/ 4436741 w 12197674"/>
              <a:gd name="connsiteY5" fmla="*/ 3857626 h 6858000"/>
              <a:gd name="connsiteX6" fmla="*/ 4802214 w 12197674"/>
              <a:gd name="connsiteY6" fmla="*/ 3645329 h 6858000"/>
              <a:gd name="connsiteX7" fmla="*/ 0 w 12197674"/>
              <a:gd name="connsiteY7" fmla="*/ 854563 h 6858000"/>
              <a:gd name="connsiteX8" fmla="*/ 370849 w 12197674"/>
              <a:gd name="connsiteY8" fmla="*/ 1068204 h 6858000"/>
              <a:gd name="connsiteX9" fmla="*/ 368162 w 12197674"/>
              <a:gd name="connsiteY9" fmla="*/ 1499516 h 6858000"/>
              <a:gd name="connsiteX10" fmla="*/ 739010 w 12197674"/>
              <a:gd name="connsiteY10" fmla="*/ 1713157 h 6858000"/>
              <a:gd name="connsiteX11" fmla="*/ 739010 w 12197674"/>
              <a:gd name="connsiteY11" fmla="*/ 2145814 h 6858000"/>
              <a:gd name="connsiteX12" fmla="*/ 368162 w 12197674"/>
              <a:gd name="connsiteY12" fmla="*/ 2358110 h 6858000"/>
              <a:gd name="connsiteX13" fmla="*/ 368162 w 12197674"/>
              <a:gd name="connsiteY13" fmla="*/ 3212672 h 6858000"/>
              <a:gd name="connsiteX14" fmla="*/ 736323 w 12197674"/>
              <a:gd name="connsiteY14" fmla="*/ 3431688 h 6858000"/>
              <a:gd name="connsiteX15" fmla="*/ 736323 w 12197674"/>
              <a:gd name="connsiteY15" fmla="*/ 5574813 h 6858000"/>
              <a:gd name="connsiteX16" fmla="*/ 368162 w 12197674"/>
              <a:gd name="connsiteY16" fmla="*/ 5787110 h 6858000"/>
              <a:gd name="connsiteX17" fmla="*/ 368162 w 12197674"/>
              <a:gd name="connsiteY17" fmla="*/ 6858000 h 6858000"/>
              <a:gd name="connsiteX18" fmla="*/ 0 w 12197674"/>
              <a:gd name="connsiteY18" fmla="*/ 6858000 h 6858000"/>
              <a:gd name="connsiteX19" fmla="*/ 4434053 w 12197674"/>
              <a:gd name="connsiteY19" fmla="*/ 428626 h 6858000"/>
              <a:gd name="connsiteX20" fmla="*/ 4068581 w 12197674"/>
              <a:gd name="connsiteY20" fmla="*/ 642267 h 6858000"/>
              <a:gd name="connsiteX21" fmla="*/ 4434053 w 12197674"/>
              <a:gd name="connsiteY21" fmla="*/ 858595 h 6858000"/>
              <a:gd name="connsiteX22" fmla="*/ 3321509 w 12197674"/>
              <a:gd name="connsiteY22" fmla="*/ 0 h 6858000"/>
              <a:gd name="connsiteX23" fmla="*/ 12197674 w 12197674"/>
              <a:gd name="connsiteY23" fmla="*/ 0 h 6858000"/>
              <a:gd name="connsiteX24" fmla="*/ 12197674 w 12197674"/>
              <a:gd name="connsiteY24" fmla="*/ 6858000 h 6858000"/>
              <a:gd name="connsiteX25" fmla="*/ 2960066 w 12197674"/>
              <a:gd name="connsiteY25" fmla="*/ 6858000 h 6858000"/>
              <a:gd name="connsiteX26" fmla="*/ 2957378 w 12197674"/>
              <a:gd name="connsiteY26" fmla="*/ 6858000 h 6858000"/>
              <a:gd name="connsiteX27" fmla="*/ 2957378 w 12197674"/>
              <a:gd name="connsiteY27" fmla="*/ 6852626 h 6858000"/>
              <a:gd name="connsiteX28" fmla="*/ 2957378 w 12197674"/>
              <a:gd name="connsiteY28" fmla="*/ 5570782 h 6858000"/>
              <a:gd name="connsiteX29" fmla="*/ 3325540 w 12197674"/>
              <a:gd name="connsiteY29" fmla="*/ 5354454 h 6858000"/>
              <a:gd name="connsiteX30" fmla="*/ 3325540 w 12197674"/>
              <a:gd name="connsiteY30" fmla="*/ 4499891 h 6858000"/>
              <a:gd name="connsiteX31" fmla="*/ 3693701 w 12197674"/>
              <a:gd name="connsiteY31" fmla="*/ 4283563 h 6858000"/>
              <a:gd name="connsiteX32" fmla="*/ 3693701 w 12197674"/>
              <a:gd name="connsiteY32" fmla="*/ 3857625 h 6858000"/>
              <a:gd name="connsiteX33" fmla="*/ 4065892 w 12197674"/>
              <a:gd name="connsiteY33" fmla="*/ 3642641 h 6858000"/>
              <a:gd name="connsiteX34" fmla="*/ 4065892 w 12197674"/>
              <a:gd name="connsiteY34" fmla="*/ 1073578 h 6858000"/>
              <a:gd name="connsiteX35" fmla="*/ 3696388 w 12197674"/>
              <a:gd name="connsiteY35" fmla="*/ 854563 h 6858000"/>
              <a:gd name="connsiteX36" fmla="*/ 3696388 w 12197674"/>
              <a:gd name="connsiteY36" fmla="*/ 428625 h 6858000"/>
              <a:gd name="connsiteX37" fmla="*/ 3321509 w 12197674"/>
              <a:gd name="connsiteY37" fmla="*/ 216328 h 6858000"/>
              <a:gd name="connsiteX38" fmla="*/ 0 w 12197674"/>
              <a:gd name="connsiteY38" fmla="*/ 0 h 6858000"/>
              <a:gd name="connsiteX39" fmla="*/ 370849 w 12197674"/>
              <a:gd name="connsiteY39" fmla="*/ 0 h 6858000"/>
              <a:gd name="connsiteX40" fmla="*/ 370849 w 12197674"/>
              <a:gd name="connsiteY40" fmla="*/ 216328 h 6858000"/>
              <a:gd name="connsiteX41" fmla="*/ 0 w 12197674"/>
              <a:gd name="connsiteY41" fmla="*/ 4286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7674" h="6858000">
                <a:moveTo>
                  <a:pt x="4065892" y="5358485"/>
                </a:moveTo>
                <a:lnTo>
                  <a:pt x="3700420" y="5570782"/>
                </a:lnTo>
                <a:lnTo>
                  <a:pt x="4065892" y="5784423"/>
                </a:lnTo>
                <a:close/>
                <a:moveTo>
                  <a:pt x="4436741" y="3431688"/>
                </a:moveTo>
                <a:lnTo>
                  <a:pt x="4068580" y="3645329"/>
                </a:lnTo>
                <a:lnTo>
                  <a:pt x="4436741" y="3857626"/>
                </a:lnTo>
                <a:lnTo>
                  <a:pt x="4802214" y="3645329"/>
                </a:lnTo>
                <a:close/>
                <a:moveTo>
                  <a:pt x="0" y="854563"/>
                </a:moveTo>
                <a:lnTo>
                  <a:pt x="370849" y="1068204"/>
                </a:lnTo>
                <a:lnTo>
                  <a:pt x="368162" y="1499516"/>
                </a:lnTo>
                <a:lnTo>
                  <a:pt x="739010" y="1713157"/>
                </a:lnTo>
                <a:lnTo>
                  <a:pt x="739010" y="2145814"/>
                </a:lnTo>
                <a:lnTo>
                  <a:pt x="368162" y="2358110"/>
                </a:lnTo>
                <a:lnTo>
                  <a:pt x="368162" y="3212672"/>
                </a:lnTo>
                <a:lnTo>
                  <a:pt x="736323" y="3431688"/>
                </a:lnTo>
                <a:lnTo>
                  <a:pt x="736323" y="5574813"/>
                </a:lnTo>
                <a:lnTo>
                  <a:pt x="368162" y="5787110"/>
                </a:lnTo>
                <a:lnTo>
                  <a:pt x="368162" y="6858000"/>
                </a:lnTo>
                <a:lnTo>
                  <a:pt x="0" y="6858000"/>
                </a:lnTo>
                <a:close/>
                <a:moveTo>
                  <a:pt x="4434053" y="428626"/>
                </a:moveTo>
                <a:lnTo>
                  <a:pt x="4068581" y="642267"/>
                </a:lnTo>
                <a:lnTo>
                  <a:pt x="4434053" y="858595"/>
                </a:lnTo>
                <a:close/>
                <a:moveTo>
                  <a:pt x="3321509" y="0"/>
                </a:moveTo>
                <a:lnTo>
                  <a:pt x="12197674" y="0"/>
                </a:lnTo>
                <a:lnTo>
                  <a:pt x="12197674" y="6858000"/>
                </a:lnTo>
                <a:lnTo>
                  <a:pt x="2960066" y="6858000"/>
                </a:lnTo>
                <a:lnTo>
                  <a:pt x="2957378" y="6858000"/>
                </a:lnTo>
                <a:lnTo>
                  <a:pt x="2957378" y="6852626"/>
                </a:lnTo>
                <a:lnTo>
                  <a:pt x="2957378" y="5570782"/>
                </a:lnTo>
                <a:lnTo>
                  <a:pt x="3325540" y="5354454"/>
                </a:lnTo>
                <a:lnTo>
                  <a:pt x="3325540" y="4499891"/>
                </a:lnTo>
                <a:lnTo>
                  <a:pt x="3693701" y="4283563"/>
                </a:lnTo>
                <a:lnTo>
                  <a:pt x="3693701" y="3857625"/>
                </a:lnTo>
                <a:lnTo>
                  <a:pt x="4065892" y="3642641"/>
                </a:lnTo>
                <a:lnTo>
                  <a:pt x="4065892" y="1073578"/>
                </a:lnTo>
                <a:lnTo>
                  <a:pt x="3696388" y="854563"/>
                </a:lnTo>
                <a:lnTo>
                  <a:pt x="3696388" y="428625"/>
                </a:lnTo>
                <a:lnTo>
                  <a:pt x="3321509" y="216328"/>
                </a:lnTo>
                <a:close/>
                <a:moveTo>
                  <a:pt x="0" y="0"/>
                </a:moveTo>
                <a:lnTo>
                  <a:pt x="370849" y="0"/>
                </a:lnTo>
                <a:lnTo>
                  <a:pt x="370849" y="216328"/>
                </a:lnTo>
                <a:lnTo>
                  <a:pt x="0" y="428625"/>
                </a:lnTo>
                <a:close/>
              </a:path>
            </a:pathLst>
          </a:custGeom>
          <a:solidFill>
            <a:srgbClr val="F2F2F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Freeform 10"/>
          <p:cNvSpPr>
            <a:spLocks/>
          </p:cNvSpPr>
          <p:nvPr userDrawn="1"/>
        </p:nvSpPr>
        <p:spPr bwMode="auto">
          <a:xfrm>
            <a:off x="4436739" y="1287219"/>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E9B43"/>
              </a:gs>
              <a:gs pos="100000">
                <a:srgbClr val="FE9441"/>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Freeform 11"/>
          <p:cNvSpPr>
            <a:spLocks/>
          </p:cNvSpPr>
          <p:nvPr userDrawn="1"/>
        </p:nvSpPr>
        <p:spPr bwMode="auto">
          <a:xfrm>
            <a:off x="1111200" y="1070891"/>
            <a:ext cx="368161" cy="425938"/>
          </a:xfrm>
          <a:custGeom>
            <a:avLst/>
            <a:gdLst>
              <a:gd name="T0" fmla="*/ 0 w 274"/>
              <a:gd name="T1" fmla="*/ 317 h 317"/>
              <a:gd name="T2" fmla="*/ 0 w 274"/>
              <a:gd name="T3" fmla="*/ 0 h 317"/>
              <a:gd name="T4" fmla="*/ 274 w 274"/>
              <a:gd name="T5" fmla="*/ 159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9"/>
                </a:lnTo>
                <a:lnTo>
                  <a:pt x="0" y="317"/>
                </a:lnTo>
                <a:close/>
              </a:path>
            </a:pathLst>
          </a:custGeom>
          <a:gradFill>
            <a:gsLst>
              <a:gs pos="0">
                <a:srgbClr val="FE9B43"/>
              </a:gs>
              <a:gs pos="100000">
                <a:srgbClr val="FE9441"/>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Freeform 15"/>
          <p:cNvSpPr>
            <a:spLocks/>
          </p:cNvSpPr>
          <p:nvPr userDrawn="1"/>
        </p:nvSpPr>
        <p:spPr bwMode="auto">
          <a:xfrm>
            <a:off x="736321" y="6003437"/>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5D4264"/>
              </a:gs>
              <a:gs pos="100000">
                <a:srgbClr val="463B67"/>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Freeform 16"/>
          <p:cNvSpPr>
            <a:spLocks/>
          </p:cNvSpPr>
          <p:nvPr userDrawn="1"/>
        </p:nvSpPr>
        <p:spPr bwMode="auto">
          <a:xfrm>
            <a:off x="3700418" y="6215734"/>
            <a:ext cx="365473" cy="425938"/>
          </a:xfrm>
          <a:custGeom>
            <a:avLst/>
            <a:gdLst>
              <a:gd name="T0" fmla="*/ 272 w 272"/>
              <a:gd name="T1" fmla="*/ 317 h 317"/>
              <a:gd name="T2" fmla="*/ 272 w 272"/>
              <a:gd name="T3" fmla="*/ 0 h 317"/>
              <a:gd name="T4" fmla="*/ 0 w 272"/>
              <a:gd name="T5" fmla="*/ 159 h 317"/>
              <a:gd name="T6" fmla="*/ 272 w 272"/>
              <a:gd name="T7" fmla="*/ 317 h 317"/>
            </a:gdLst>
            <a:ahLst/>
            <a:cxnLst>
              <a:cxn ang="0">
                <a:pos x="T0" y="T1"/>
              </a:cxn>
              <a:cxn ang="0">
                <a:pos x="T2" y="T3"/>
              </a:cxn>
              <a:cxn ang="0">
                <a:pos x="T4" y="T5"/>
              </a:cxn>
              <a:cxn ang="0">
                <a:pos x="T6" y="T7"/>
              </a:cxn>
            </a:cxnLst>
            <a:rect l="0" t="0" r="r" b="b"/>
            <a:pathLst>
              <a:path w="272" h="317">
                <a:moveTo>
                  <a:pt x="272" y="317"/>
                </a:moveTo>
                <a:lnTo>
                  <a:pt x="272" y="0"/>
                </a:lnTo>
                <a:lnTo>
                  <a:pt x="0" y="159"/>
                </a:lnTo>
                <a:lnTo>
                  <a:pt x="272" y="317"/>
                </a:lnTo>
                <a:close/>
              </a:path>
            </a:pathLst>
          </a:custGeom>
          <a:gradFill>
            <a:gsLst>
              <a:gs pos="0">
                <a:srgbClr val="4B3C66"/>
              </a:gs>
              <a:gs pos="100000">
                <a:srgbClr val="39386B"/>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9" name="Freeform 11"/>
          <p:cNvSpPr>
            <a:spLocks/>
          </p:cNvSpPr>
          <p:nvPr userDrawn="1"/>
        </p:nvSpPr>
        <p:spPr bwMode="auto">
          <a:xfrm>
            <a:off x="3325539" y="5784422"/>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66425F"/>
              </a:gs>
              <a:gs pos="100000">
                <a:srgbClr val="513E64"/>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Freeform 12"/>
          <p:cNvSpPr>
            <a:spLocks/>
          </p:cNvSpPr>
          <p:nvPr userDrawn="1"/>
        </p:nvSpPr>
        <p:spPr bwMode="auto">
          <a:xfrm>
            <a:off x="3332257" y="2793453"/>
            <a:ext cx="368161" cy="425938"/>
          </a:xfrm>
          <a:custGeom>
            <a:avLst/>
            <a:gdLst>
              <a:gd name="T0" fmla="*/ 0 w 274"/>
              <a:gd name="T1" fmla="*/ 317 h 317"/>
              <a:gd name="T2" fmla="*/ 0 w 274"/>
              <a:gd name="T3" fmla="*/ 0 h 317"/>
              <a:gd name="T4" fmla="*/ 274 w 274"/>
              <a:gd name="T5" fmla="*/ 159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9"/>
                </a:lnTo>
                <a:lnTo>
                  <a:pt x="0" y="317"/>
                </a:lnTo>
                <a:close/>
              </a:path>
            </a:pathLst>
          </a:custGeom>
          <a:gradFill>
            <a:gsLst>
              <a:gs pos="0">
                <a:srgbClr val="FF7638"/>
              </a:gs>
              <a:gs pos="100000">
                <a:srgbClr val="FF6E37"/>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3" name="Freeform 13"/>
          <p:cNvSpPr>
            <a:spLocks/>
          </p:cNvSpPr>
          <p:nvPr userDrawn="1"/>
        </p:nvSpPr>
        <p:spPr bwMode="auto">
          <a:xfrm>
            <a:off x="1111200" y="1713156"/>
            <a:ext cx="368161" cy="428625"/>
          </a:xfrm>
          <a:custGeom>
            <a:avLst/>
            <a:gdLst>
              <a:gd name="T0" fmla="*/ 274 w 274"/>
              <a:gd name="T1" fmla="*/ 319 h 319"/>
              <a:gd name="T2" fmla="*/ 274 w 274"/>
              <a:gd name="T3" fmla="*/ 0 h 319"/>
              <a:gd name="T4" fmla="*/ 0 w 274"/>
              <a:gd name="T5" fmla="*/ 158 h 319"/>
              <a:gd name="T6" fmla="*/ 274 w 274"/>
              <a:gd name="T7" fmla="*/ 319 h 319"/>
            </a:gdLst>
            <a:ahLst/>
            <a:cxnLst>
              <a:cxn ang="0">
                <a:pos x="T0" y="T1"/>
              </a:cxn>
              <a:cxn ang="0">
                <a:pos x="T2" y="T3"/>
              </a:cxn>
              <a:cxn ang="0">
                <a:pos x="T4" y="T5"/>
              </a:cxn>
              <a:cxn ang="0">
                <a:pos x="T6" y="T7"/>
              </a:cxn>
            </a:cxnLst>
            <a:rect l="0" t="0" r="r" b="b"/>
            <a:pathLst>
              <a:path w="274" h="319">
                <a:moveTo>
                  <a:pt x="274" y="319"/>
                </a:moveTo>
                <a:lnTo>
                  <a:pt x="274" y="0"/>
                </a:lnTo>
                <a:lnTo>
                  <a:pt x="0" y="158"/>
                </a:lnTo>
                <a:lnTo>
                  <a:pt x="274" y="319"/>
                </a:lnTo>
                <a:close/>
              </a:path>
            </a:pathLst>
          </a:custGeom>
          <a:gradFill>
            <a:gsLst>
              <a:gs pos="0">
                <a:srgbClr val="FE9040"/>
              </a:gs>
              <a:gs pos="100000">
                <a:srgbClr val="FE893D"/>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4" name="Freeform 14"/>
          <p:cNvSpPr>
            <a:spLocks/>
          </p:cNvSpPr>
          <p:nvPr userDrawn="1"/>
        </p:nvSpPr>
        <p:spPr bwMode="auto">
          <a:xfrm>
            <a:off x="4065891" y="4283563"/>
            <a:ext cx="729603" cy="1074922"/>
          </a:xfrm>
          <a:custGeom>
            <a:avLst/>
            <a:gdLst>
              <a:gd name="T0" fmla="*/ 0 w 543"/>
              <a:gd name="T1" fmla="*/ 159 h 800"/>
              <a:gd name="T2" fmla="*/ 0 w 543"/>
              <a:gd name="T3" fmla="*/ 800 h 800"/>
              <a:gd name="T4" fmla="*/ 272 w 543"/>
              <a:gd name="T5" fmla="*/ 641 h 800"/>
              <a:gd name="T6" fmla="*/ 272 w 543"/>
              <a:gd name="T7" fmla="*/ 317 h 800"/>
              <a:gd name="T8" fmla="*/ 543 w 543"/>
              <a:gd name="T9" fmla="*/ 159 h 800"/>
              <a:gd name="T10" fmla="*/ 272 w 543"/>
              <a:gd name="T11" fmla="*/ 0 h 800"/>
              <a:gd name="T12" fmla="*/ 0 w 543"/>
              <a:gd name="T13" fmla="*/ 159 h 800"/>
            </a:gdLst>
            <a:ahLst/>
            <a:cxnLst>
              <a:cxn ang="0">
                <a:pos x="T0" y="T1"/>
              </a:cxn>
              <a:cxn ang="0">
                <a:pos x="T2" y="T3"/>
              </a:cxn>
              <a:cxn ang="0">
                <a:pos x="T4" y="T5"/>
              </a:cxn>
              <a:cxn ang="0">
                <a:pos x="T6" y="T7"/>
              </a:cxn>
              <a:cxn ang="0">
                <a:pos x="T8" y="T9"/>
              </a:cxn>
              <a:cxn ang="0">
                <a:pos x="T10" y="T11"/>
              </a:cxn>
              <a:cxn ang="0">
                <a:pos x="T12" y="T13"/>
              </a:cxn>
            </a:cxnLst>
            <a:rect l="0" t="0" r="r" b="b"/>
            <a:pathLst>
              <a:path w="543" h="800">
                <a:moveTo>
                  <a:pt x="0" y="159"/>
                </a:moveTo>
                <a:lnTo>
                  <a:pt x="0" y="800"/>
                </a:lnTo>
                <a:lnTo>
                  <a:pt x="272" y="641"/>
                </a:lnTo>
                <a:lnTo>
                  <a:pt x="272" y="317"/>
                </a:lnTo>
                <a:lnTo>
                  <a:pt x="543" y="159"/>
                </a:lnTo>
                <a:lnTo>
                  <a:pt x="272" y="0"/>
                </a:lnTo>
                <a:lnTo>
                  <a:pt x="0" y="159"/>
                </a:lnTo>
                <a:close/>
              </a:path>
            </a:pathLst>
          </a:custGeom>
          <a:gradFill>
            <a:gsLst>
              <a:gs pos="0">
                <a:srgbClr val="C65943"/>
              </a:gs>
              <a:gs pos="100000">
                <a:srgbClr val="8C4B54"/>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Freeform 15"/>
          <p:cNvSpPr>
            <a:spLocks/>
          </p:cNvSpPr>
          <p:nvPr userDrawn="1"/>
        </p:nvSpPr>
        <p:spPr bwMode="auto">
          <a:xfrm>
            <a:off x="370848" y="428625"/>
            <a:ext cx="730947" cy="425938"/>
          </a:xfrm>
          <a:custGeom>
            <a:avLst/>
            <a:gdLst>
              <a:gd name="T0" fmla="*/ 272 w 544"/>
              <a:gd name="T1" fmla="*/ 0 h 317"/>
              <a:gd name="T2" fmla="*/ 0 w 544"/>
              <a:gd name="T3" fmla="*/ 159 h 317"/>
              <a:gd name="T4" fmla="*/ 272 w 544"/>
              <a:gd name="T5" fmla="*/ 317 h 317"/>
              <a:gd name="T6" fmla="*/ 544 w 544"/>
              <a:gd name="T7" fmla="*/ 159 h 317"/>
              <a:gd name="T8" fmla="*/ 272 w 544"/>
              <a:gd name="T9" fmla="*/ 0 h 317"/>
            </a:gdLst>
            <a:ahLst/>
            <a:cxnLst>
              <a:cxn ang="0">
                <a:pos x="T0" y="T1"/>
              </a:cxn>
              <a:cxn ang="0">
                <a:pos x="T2" y="T3"/>
              </a:cxn>
              <a:cxn ang="0">
                <a:pos x="T4" y="T5"/>
              </a:cxn>
              <a:cxn ang="0">
                <a:pos x="T6" y="T7"/>
              </a:cxn>
              <a:cxn ang="0">
                <a:pos x="T8" y="T9"/>
              </a:cxn>
            </a:cxnLst>
            <a:rect l="0" t="0" r="r" b="b"/>
            <a:pathLst>
              <a:path w="544" h="317">
                <a:moveTo>
                  <a:pt x="272" y="0"/>
                </a:moveTo>
                <a:lnTo>
                  <a:pt x="0" y="159"/>
                </a:lnTo>
                <a:lnTo>
                  <a:pt x="272" y="317"/>
                </a:lnTo>
                <a:lnTo>
                  <a:pt x="544" y="159"/>
                </a:lnTo>
                <a:lnTo>
                  <a:pt x="272" y="0"/>
                </a:lnTo>
                <a:close/>
              </a:path>
            </a:pathLst>
          </a:custGeom>
          <a:gradFill>
            <a:gsLst>
              <a:gs pos="0">
                <a:srgbClr val="FDB14A"/>
              </a:gs>
              <a:gs pos="100000">
                <a:srgbClr val="FDA947"/>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Freeform 16"/>
          <p:cNvSpPr>
            <a:spLocks/>
          </p:cNvSpPr>
          <p:nvPr userDrawn="1"/>
        </p:nvSpPr>
        <p:spPr bwMode="auto">
          <a:xfrm>
            <a:off x="4436739" y="2370202"/>
            <a:ext cx="368161" cy="636891"/>
          </a:xfrm>
          <a:custGeom>
            <a:avLst/>
            <a:gdLst>
              <a:gd name="T0" fmla="*/ 0 w 274"/>
              <a:gd name="T1" fmla="*/ 157 h 474"/>
              <a:gd name="T2" fmla="*/ 3 w 274"/>
              <a:gd name="T3" fmla="*/ 474 h 474"/>
              <a:gd name="T4" fmla="*/ 274 w 274"/>
              <a:gd name="T5" fmla="*/ 315 h 474"/>
              <a:gd name="T6" fmla="*/ 272 w 274"/>
              <a:gd name="T7" fmla="*/ 0 h 474"/>
              <a:gd name="T8" fmla="*/ 0 w 274"/>
              <a:gd name="T9" fmla="*/ 157 h 474"/>
            </a:gdLst>
            <a:ahLst/>
            <a:cxnLst>
              <a:cxn ang="0">
                <a:pos x="T0" y="T1"/>
              </a:cxn>
              <a:cxn ang="0">
                <a:pos x="T2" y="T3"/>
              </a:cxn>
              <a:cxn ang="0">
                <a:pos x="T4" y="T5"/>
              </a:cxn>
              <a:cxn ang="0">
                <a:pos x="T6" y="T7"/>
              </a:cxn>
              <a:cxn ang="0">
                <a:pos x="T8" y="T9"/>
              </a:cxn>
            </a:cxnLst>
            <a:rect l="0" t="0" r="r" b="b"/>
            <a:pathLst>
              <a:path w="274" h="474">
                <a:moveTo>
                  <a:pt x="0" y="157"/>
                </a:moveTo>
                <a:lnTo>
                  <a:pt x="3" y="474"/>
                </a:lnTo>
                <a:lnTo>
                  <a:pt x="274" y="315"/>
                </a:lnTo>
                <a:lnTo>
                  <a:pt x="272" y="0"/>
                </a:lnTo>
                <a:lnTo>
                  <a:pt x="0" y="157"/>
                </a:lnTo>
                <a:close/>
              </a:path>
            </a:pathLst>
          </a:custGeom>
          <a:gradFill>
            <a:gsLst>
              <a:gs pos="0">
                <a:srgbClr val="FE803B"/>
              </a:gs>
              <a:gs pos="100000">
                <a:srgbClr val="FF7337"/>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7" name="Freeform 21"/>
          <p:cNvSpPr>
            <a:spLocks/>
          </p:cNvSpPr>
          <p:nvPr userDrawn="1"/>
        </p:nvSpPr>
        <p:spPr bwMode="auto">
          <a:xfrm>
            <a:off x="3337632" y="858594"/>
            <a:ext cx="730947" cy="854563"/>
          </a:xfrm>
          <a:custGeom>
            <a:avLst/>
            <a:gdLst>
              <a:gd name="T0" fmla="*/ 0 w 544"/>
              <a:gd name="T1" fmla="*/ 477 h 636"/>
              <a:gd name="T2" fmla="*/ 0 w 544"/>
              <a:gd name="T3" fmla="*/ 160 h 636"/>
              <a:gd name="T4" fmla="*/ 272 w 544"/>
              <a:gd name="T5" fmla="*/ 0 h 636"/>
              <a:gd name="T6" fmla="*/ 272 w 544"/>
              <a:gd name="T7" fmla="*/ 319 h 636"/>
              <a:gd name="T8" fmla="*/ 544 w 544"/>
              <a:gd name="T9" fmla="*/ 477 h 636"/>
              <a:gd name="T10" fmla="*/ 272 w 544"/>
              <a:gd name="T11" fmla="*/ 636 h 636"/>
              <a:gd name="T12" fmla="*/ 0 w 544"/>
              <a:gd name="T13" fmla="*/ 477 h 636"/>
            </a:gdLst>
            <a:ahLst/>
            <a:cxnLst>
              <a:cxn ang="0">
                <a:pos x="T0" y="T1"/>
              </a:cxn>
              <a:cxn ang="0">
                <a:pos x="T2" y="T3"/>
              </a:cxn>
              <a:cxn ang="0">
                <a:pos x="T4" y="T5"/>
              </a:cxn>
              <a:cxn ang="0">
                <a:pos x="T6" y="T7"/>
              </a:cxn>
              <a:cxn ang="0">
                <a:pos x="T8" y="T9"/>
              </a:cxn>
              <a:cxn ang="0">
                <a:pos x="T10" y="T11"/>
              </a:cxn>
              <a:cxn ang="0">
                <a:pos x="T12" y="T13"/>
              </a:cxn>
            </a:cxnLst>
            <a:rect l="0" t="0" r="r" b="b"/>
            <a:pathLst>
              <a:path w="544" h="636">
                <a:moveTo>
                  <a:pt x="0" y="477"/>
                </a:moveTo>
                <a:lnTo>
                  <a:pt x="0" y="160"/>
                </a:lnTo>
                <a:lnTo>
                  <a:pt x="272" y="0"/>
                </a:lnTo>
                <a:lnTo>
                  <a:pt x="272" y="319"/>
                </a:lnTo>
                <a:lnTo>
                  <a:pt x="544" y="477"/>
                </a:lnTo>
                <a:lnTo>
                  <a:pt x="272" y="636"/>
                </a:lnTo>
                <a:lnTo>
                  <a:pt x="0" y="477"/>
                </a:lnTo>
                <a:close/>
              </a:path>
            </a:pathLst>
          </a:custGeom>
          <a:gradFill>
            <a:gsLst>
              <a:gs pos="0">
                <a:srgbClr val="FEA646"/>
              </a:gs>
              <a:gs pos="100000">
                <a:srgbClr val="FF9340"/>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8" name="Freeform 22"/>
          <p:cNvSpPr>
            <a:spLocks/>
          </p:cNvSpPr>
          <p:nvPr userDrawn="1"/>
        </p:nvSpPr>
        <p:spPr bwMode="auto">
          <a:xfrm>
            <a:off x="2219713" y="4499891"/>
            <a:ext cx="368161" cy="849188"/>
          </a:xfrm>
          <a:custGeom>
            <a:avLst/>
            <a:gdLst>
              <a:gd name="T0" fmla="*/ 274 w 274"/>
              <a:gd name="T1" fmla="*/ 0 h 632"/>
              <a:gd name="T2" fmla="*/ 274 w 274"/>
              <a:gd name="T3" fmla="*/ 317 h 632"/>
              <a:gd name="T4" fmla="*/ 274 w 274"/>
              <a:gd name="T5" fmla="*/ 632 h 632"/>
              <a:gd name="T6" fmla="*/ 0 w 274"/>
              <a:gd name="T7" fmla="*/ 471 h 632"/>
              <a:gd name="T8" fmla="*/ 0 w 274"/>
              <a:gd name="T9" fmla="*/ 156 h 632"/>
              <a:gd name="T10" fmla="*/ 274 w 274"/>
              <a:gd name="T11" fmla="*/ 0 h 632"/>
            </a:gdLst>
            <a:ahLst/>
            <a:cxnLst>
              <a:cxn ang="0">
                <a:pos x="T0" y="T1"/>
              </a:cxn>
              <a:cxn ang="0">
                <a:pos x="T2" y="T3"/>
              </a:cxn>
              <a:cxn ang="0">
                <a:pos x="T4" y="T5"/>
              </a:cxn>
              <a:cxn ang="0">
                <a:pos x="T6" y="T7"/>
              </a:cxn>
              <a:cxn ang="0">
                <a:pos x="T8" y="T9"/>
              </a:cxn>
              <a:cxn ang="0">
                <a:pos x="T10" y="T11"/>
              </a:cxn>
            </a:cxnLst>
            <a:rect l="0" t="0" r="r" b="b"/>
            <a:pathLst>
              <a:path w="274" h="632">
                <a:moveTo>
                  <a:pt x="274" y="0"/>
                </a:moveTo>
                <a:lnTo>
                  <a:pt x="274" y="317"/>
                </a:lnTo>
                <a:lnTo>
                  <a:pt x="274" y="632"/>
                </a:lnTo>
                <a:lnTo>
                  <a:pt x="0" y="471"/>
                </a:lnTo>
                <a:lnTo>
                  <a:pt x="0" y="156"/>
                </a:lnTo>
                <a:lnTo>
                  <a:pt x="274" y="0"/>
                </a:lnTo>
                <a:close/>
              </a:path>
            </a:pathLst>
          </a:custGeom>
          <a:gradFill>
            <a:gsLst>
              <a:gs pos="0">
                <a:srgbClr val="B85547"/>
              </a:gs>
              <a:gs pos="100000">
                <a:srgbClr val="8A4B54"/>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9" name="Freeform 24"/>
          <p:cNvSpPr>
            <a:spLocks/>
          </p:cNvSpPr>
          <p:nvPr userDrawn="1"/>
        </p:nvSpPr>
        <p:spPr bwMode="auto">
          <a:xfrm>
            <a:off x="368161" y="3645328"/>
            <a:ext cx="368161" cy="425938"/>
          </a:xfrm>
          <a:custGeom>
            <a:avLst/>
            <a:gdLst>
              <a:gd name="T0" fmla="*/ 0 w 274"/>
              <a:gd name="T1" fmla="*/ 317 h 317"/>
              <a:gd name="T2" fmla="*/ 0 w 274"/>
              <a:gd name="T3" fmla="*/ 0 h 317"/>
              <a:gd name="T4" fmla="*/ 274 w 274"/>
              <a:gd name="T5" fmla="*/ 158 h 317"/>
              <a:gd name="T6" fmla="*/ 0 w 274"/>
              <a:gd name="T7" fmla="*/ 317 h 317"/>
            </a:gdLst>
            <a:ahLst/>
            <a:cxnLst>
              <a:cxn ang="0">
                <a:pos x="T0" y="T1"/>
              </a:cxn>
              <a:cxn ang="0">
                <a:pos x="T2" y="T3"/>
              </a:cxn>
              <a:cxn ang="0">
                <a:pos x="T4" y="T5"/>
              </a:cxn>
              <a:cxn ang="0">
                <a:pos x="T6" y="T7"/>
              </a:cxn>
            </a:cxnLst>
            <a:rect l="0" t="0" r="r" b="b"/>
            <a:pathLst>
              <a:path w="274" h="317">
                <a:moveTo>
                  <a:pt x="0" y="317"/>
                </a:moveTo>
                <a:lnTo>
                  <a:pt x="0" y="0"/>
                </a:lnTo>
                <a:lnTo>
                  <a:pt x="274" y="158"/>
                </a:lnTo>
                <a:lnTo>
                  <a:pt x="0" y="317"/>
                </a:lnTo>
                <a:close/>
              </a:path>
            </a:pathLst>
          </a:custGeom>
          <a:gradFill>
            <a:gsLst>
              <a:gs pos="0">
                <a:srgbClr val="EE6238"/>
              </a:gs>
              <a:gs pos="100000">
                <a:srgbClr val="DB5E3D"/>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0" name="Freeform 25"/>
          <p:cNvSpPr>
            <a:spLocks/>
          </p:cNvSpPr>
          <p:nvPr userDrawn="1"/>
        </p:nvSpPr>
        <p:spPr bwMode="auto">
          <a:xfrm>
            <a:off x="0" y="4292968"/>
            <a:ext cx="368161" cy="846501"/>
          </a:xfrm>
          <a:custGeom>
            <a:avLst/>
            <a:gdLst>
              <a:gd name="T0" fmla="*/ 0 w 274"/>
              <a:gd name="T1" fmla="*/ 0 h 630"/>
              <a:gd name="T2" fmla="*/ 0 w 274"/>
              <a:gd name="T3" fmla="*/ 315 h 630"/>
              <a:gd name="T4" fmla="*/ 0 w 274"/>
              <a:gd name="T5" fmla="*/ 630 h 630"/>
              <a:gd name="T6" fmla="*/ 274 w 274"/>
              <a:gd name="T7" fmla="*/ 471 h 630"/>
              <a:gd name="T8" fmla="*/ 274 w 274"/>
              <a:gd name="T9" fmla="*/ 157 h 630"/>
              <a:gd name="T10" fmla="*/ 0 w 274"/>
              <a:gd name="T11" fmla="*/ 0 h 630"/>
            </a:gdLst>
            <a:ahLst/>
            <a:cxnLst>
              <a:cxn ang="0">
                <a:pos x="T0" y="T1"/>
              </a:cxn>
              <a:cxn ang="0">
                <a:pos x="T2" y="T3"/>
              </a:cxn>
              <a:cxn ang="0">
                <a:pos x="T4" y="T5"/>
              </a:cxn>
              <a:cxn ang="0">
                <a:pos x="T6" y="T7"/>
              </a:cxn>
              <a:cxn ang="0">
                <a:pos x="T8" y="T9"/>
              </a:cxn>
              <a:cxn ang="0">
                <a:pos x="T10" y="T11"/>
              </a:cxn>
            </a:cxnLst>
            <a:rect l="0" t="0" r="r" b="b"/>
            <a:pathLst>
              <a:path w="274" h="630">
                <a:moveTo>
                  <a:pt x="0" y="0"/>
                </a:moveTo>
                <a:lnTo>
                  <a:pt x="0" y="315"/>
                </a:lnTo>
                <a:lnTo>
                  <a:pt x="0" y="630"/>
                </a:lnTo>
                <a:lnTo>
                  <a:pt x="274" y="471"/>
                </a:lnTo>
                <a:lnTo>
                  <a:pt x="274" y="157"/>
                </a:lnTo>
                <a:lnTo>
                  <a:pt x="0" y="0"/>
                </a:lnTo>
                <a:close/>
              </a:path>
            </a:pathLst>
          </a:custGeom>
          <a:gradFill>
            <a:gsLst>
              <a:gs pos="0">
                <a:srgbClr val="C35844"/>
              </a:gs>
              <a:gs pos="92000">
                <a:srgbClr val="8A4B54"/>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1" name="Picture Placeholder 13">
            <a:extLst>
              <a:ext uri="{FF2B5EF4-FFF2-40B4-BE49-F238E27FC236}">
                <a16:creationId xmlns:a16="http://schemas.microsoft.com/office/drawing/2014/main" id="{B27FB25A-25C1-1145-91A1-08CB3FC40AE3}"/>
              </a:ext>
            </a:extLst>
          </p:cNvPr>
          <p:cNvSpPr>
            <a:spLocks noGrp="1"/>
          </p:cNvSpPr>
          <p:nvPr>
            <p:ph type="pic" sz="quarter" idx="10"/>
          </p:nvPr>
        </p:nvSpPr>
        <p:spPr>
          <a:xfrm>
            <a:off x="0" y="2"/>
            <a:ext cx="5235878" cy="6857999"/>
          </a:xfrm>
          <a:custGeom>
            <a:avLst/>
            <a:gdLst>
              <a:gd name="connsiteX0" fmla="*/ 750460 w 5235878"/>
              <a:gd name="connsiteY0" fmla="*/ 6019914 h 6857999"/>
              <a:gd name="connsiteX1" fmla="*/ 750460 w 5235878"/>
              <a:gd name="connsiteY1" fmla="*/ 6412896 h 6857999"/>
              <a:gd name="connsiteX2" fmla="*/ 1087656 w 5235878"/>
              <a:gd name="connsiteY2" fmla="*/ 6215785 h 6857999"/>
              <a:gd name="connsiteX3" fmla="*/ 4065891 w 5235878"/>
              <a:gd name="connsiteY3" fmla="*/ 5358483 h 6857999"/>
              <a:gd name="connsiteX4" fmla="*/ 4065891 w 5235878"/>
              <a:gd name="connsiteY4" fmla="*/ 5784421 h 6857999"/>
              <a:gd name="connsiteX5" fmla="*/ 3700419 w 5235878"/>
              <a:gd name="connsiteY5" fmla="*/ 5570780 h 6857999"/>
              <a:gd name="connsiteX6" fmla="*/ 2573632 w 5235878"/>
              <a:gd name="connsiteY6" fmla="*/ 4532742 h 6857999"/>
              <a:gd name="connsiteX7" fmla="*/ 2233956 w 5235878"/>
              <a:gd name="connsiteY7" fmla="*/ 4726134 h 6857999"/>
              <a:gd name="connsiteX8" fmla="*/ 2233956 w 5235878"/>
              <a:gd name="connsiteY8" fmla="*/ 5116636 h 6857999"/>
              <a:gd name="connsiteX9" fmla="*/ 2573632 w 5235878"/>
              <a:gd name="connsiteY9" fmla="*/ 5316226 h 6857999"/>
              <a:gd name="connsiteX10" fmla="*/ 2573632 w 5235878"/>
              <a:gd name="connsiteY10" fmla="*/ 4925724 h 6857999"/>
              <a:gd name="connsiteX11" fmla="*/ 4436740 w 5235878"/>
              <a:gd name="connsiteY11" fmla="*/ 3431686 h 6857999"/>
              <a:gd name="connsiteX12" fmla="*/ 4802213 w 5235878"/>
              <a:gd name="connsiteY12" fmla="*/ 3645327 h 6857999"/>
              <a:gd name="connsiteX13" fmla="*/ 4436740 w 5235878"/>
              <a:gd name="connsiteY13" fmla="*/ 3857624 h 6857999"/>
              <a:gd name="connsiteX14" fmla="*/ 4068579 w 5235878"/>
              <a:gd name="connsiteY14" fmla="*/ 3645327 h 6857999"/>
              <a:gd name="connsiteX15" fmla="*/ 3346500 w 5235878"/>
              <a:gd name="connsiteY15" fmla="*/ 2809931 h 6857999"/>
              <a:gd name="connsiteX16" fmla="*/ 3346500 w 5235878"/>
              <a:gd name="connsiteY16" fmla="*/ 3202913 h 6857999"/>
              <a:gd name="connsiteX17" fmla="*/ 3686176 w 5235878"/>
              <a:gd name="connsiteY17" fmla="*/ 3007041 h 6857999"/>
              <a:gd name="connsiteX18" fmla="*/ 1465119 w 5235878"/>
              <a:gd name="connsiteY18" fmla="*/ 1729739 h 6857999"/>
              <a:gd name="connsiteX19" fmla="*/ 1125444 w 5235878"/>
              <a:gd name="connsiteY19" fmla="*/ 1925609 h 6857999"/>
              <a:gd name="connsiteX20" fmla="*/ 1465119 w 5235878"/>
              <a:gd name="connsiteY20" fmla="*/ 2125199 h 6857999"/>
              <a:gd name="connsiteX21" fmla="*/ 1125444 w 5235878"/>
              <a:gd name="connsiteY21" fmla="*/ 1087369 h 6857999"/>
              <a:gd name="connsiteX22" fmla="*/ 1125444 w 5235878"/>
              <a:gd name="connsiteY22" fmla="*/ 1480351 h 6857999"/>
              <a:gd name="connsiteX23" fmla="*/ 1465120 w 5235878"/>
              <a:gd name="connsiteY23" fmla="*/ 1284480 h 6857999"/>
              <a:gd name="connsiteX24" fmla="*/ 3703106 w 5235878"/>
              <a:gd name="connsiteY24" fmla="*/ 891654 h 6857999"/>
              <a:gd name="connsiteX25" fmla="*/ 3365910 w 5235878"/>
              <a:gd name="connsiteY25" fmla="*/ 1090004 h 6857999"/>
              <a:gd name="connsiteX26" fmla="*/ 3365910 w 5235878"/>
              <a:gd name="connsiteY26" fmla="*/ 1482986 h 6857999"/>
              <a:gd name="connsiteX27" fmla="*/ 3703106 w 5235878"/>
              <a:gd name="connsiteY27" fmla="*/ 1680096 h 6857999"/>
              <a:gd name="connsiteX28" fmla="*/ 4040302 w 5235878"/>
              <a:gd name="connsiteY28" fmla="*/ 1482986 h 6857999"/>
              <a:gd name="connsiteX29" fmla="*/ 3703106 w 5235878"/>
              <a:gd name="connsiteY29" fmla="*/ 1287115 h 6857999"/>
              <a:gd name="connsiteX30" fmla="*/ 736322 w 5235878"/>
              <a:gd name="connsiteY30" fmla="*/ 445102 h 6857999"/>
              <a:gd name="connsiteX31" fmla="*/ 399126 w 5235878"/>
              <a:gd name="connsiteY31" fmla="*/ 642213 h 6857999"/>
              <a:gd name="connsiteX32" fmla="*/ 736322 w 5235878"/>
              <a:gd name="connsiteY32" fmla="*/ 838084 h 6857999"/>
              <a:gd name="connsiteX33" fmla="*/ 1073518 w 5235878"/>
              <a:gd name="connsiteY33" fmla="*/ 642213 h 6857999"/>
              <a:gd name="connsiteX34" fmla="*/ 4434052 w 5235878"/>
              <a:gd name="connsiteY34" fmla="*/ 428625 h 6857999"/>
              <a:gd name="connsiteX35" fmla="*/ 4434052 w 5235878"/>
              <a:gd name="connsiteY35" fmla="*/ 858594 h 6857999"/>
              <a:gd name="connsiteX36" fmla="*/ 4068580 w 5235878"/>
              <a:gd name="connsiteY36" fmla="*/ 642266 h 6857999"/>
              <a:gd name="connsiteX37" fmla="*/ 370849 w 5235878"/>
              <a:gd name="connsiteY37" fmla="*/ 0 h 6857999"/>
              <a:gd name="connsiteX38" fmla="*/ 3321508 w 5235878"/>
              <a:gd name="connsiteY38" fmla="*/ 0 h 6857999"/>
              <a:gd name="connsiteX39" fmla="*/ 3321508 w 5235878"/>
              <a:gd name="connsiteY39" fmla="*/ 216327 h 6857999"/>
              <a:gd name="connsiteX40" fmla="*/ 3696387 w 5235878"/>
              <a:gd name="connsiteY40" fmla="*/ 428624 h 6857999"/>
              <a:gd name="connsiteX41" fmla="*/ 3696387 w 5235878"/>
              <a:gd name="connsiteY41" fmla="*/ 854562 h 6857999"/>
              <a:gd name="connsiteX42" fmla="*/ 4065891 w 5235878"/>
              <a:gd name="connsiteY42" fmla="*/ 1073577 h 6857999"/>
              <a:gd name="connsiteX43" fmla="*/ 4065891 w 5235878"/>
              <a:gd name="connsiteY43" fmla="*/ 3642639 h 6857999"/>
              <a:gd name="connsiteX44" fmla="*/ 3693700 w 5235878"/>
              <a:gd name="connsiteY44" fmla="*/ 3857623 h 6857999"/>
              <a:gd name="connsiteX45" fmla="*/ 3693700 w 5235878"/>
              <a:gd name="connsiteY45" fmla="*/ 4283561 h 6857999"/>
              <a:gd name="connsiteX46" fmla="*/ 3325539 w 5235878"/>
              <a:gd name="connsiteY46" fmla="*/ 4499889 h 6857999"/>
              <a:gd name="connsiteX47" fmla="*/ 3325539 w 5235878"/>
              <a:gd name="connsiteY47" fmla="*/ 5354452 h 6857999"/>
              <a:gd name="connsiteX48" fmla="*/ 2957377 w 5235878"/>
              <a:gd name="connsiteY48" fmla="*/ 5570780 h 6857999"/>
              <a:gd name="connsiteX49" fmla="*/ 2957377 w 5235878"/>
              <a:gd name="connsiteY49" fmla="*/ 6852624 h 6857999"/>
              <a:gd name="connsiteX50" fmla="*/ 2957377 w 5235878"/>
              <a:gd name="connsiteY50" fmla="*/ 6857998 h 6857999"/>
              <a:gd name="connsiteX51" fmla="*/ 2960065 w 5235878"/>
              <a:gd name="connsiteY51" fmla="*/ 6857998 h 6857999"/>
              <a:gd name="connsiteX52" fmla="*/ 5235878 w 5235878"/>
              <a:gd name="connsiteY52" fmla="*/ 6857998 h 6857999"/>
              <a:gd name="connsiteX53" fmla="*/ 5235878 w 5235878"/>
              <a:gd name="connsiteY53" fmla="*/ 6857999 h 6857999"/>
              <a:gd name="connsiteX54" fmla="*/ 0 w 5235878"/>
              <a:gd name="connsiteY54" fmla="*/ 6857999 h 6857999"/>
              <a:gd name="connsiteX55" fmla="*/ 0 w 5235878"/>
              <a:gd name="connsiteY55" fmla="*/ 6857998 h 6857999"/>
              <a:gd name="connsiteX56" fmla="*/ 368162 w 5235878"/>
              <a:gd name="connsiteY56" fmla="*/ 6857998 h 6857999"/>
              <a:gd name="connsiteX57" fmla="*/ 368162 w 5235878"/>
              <a:gd name="connsiteY57" fmla="*/ 5787108 h 6857999"/>
              <a:gd name="connsiteX58" fmla="*/ 736323 w 5235878"/>
              <a:gd name="connsiteY58" fmla="*/ 5574811 h 6857999"/>
              <a:gd name="connsiteX59" fmla="*/ 736323 w 5235878"/>
              <a:gd name="connsiteY59" fmla="*/ 3431686 h 6857999"/>
              <a:gd name="connsiteX60" fmla="*/ 368162 w 5235878"/>
              <a:gd name="connsiteY60" fmla="*/ 3212670 h 6857999"/>
              <a:gd name="connsiteX61" fmla="*/ 368162 w 5235878"/>
              <a:gd name="connsiteY61" fmla="*/ 2358109 h 6857999"/>
              <a:gd name="connsiteX62" fmla="*/ 739009 w 5235878"/>
              <a:gd name="connsiteY62" fmla="*/ 2145813 h 6857999"/>
              <a:gd name="connsiteX63" fmla="*/ 739009 w 5235878"/>
              <a:gd name="connsiteY63" fmla="*/ 1713156 h 6857999"/>
              <a:gd name="connsiteX64" fmla="*/ 368162 w 5235878"/>
              <a:gd name="connsiteY64" fmla="*/ 1499515 h 6857999"/>
              <a:gd name="connsiteX65" fmla="*/ 370849 w 5235878"/>
              <a:gd name="connsiteY65" fmla="*/ 1068203 h 6857999"/>
              <a:gd name="connsiteX66" fmla="*/ 0 w 5235878"/>
              <a:gd name="connsiteY66" fmla="*/ 854562 h 6857999"/>
              <a:gd name="connsiteX67" fmla="*/ 0 w 5235878"/>
              <a:gd name="connsiteY67" fmla="*/ 428624 h 6857999"/>
              <a:gd name="connsiteX68" fmla="*/ 370849 w 5235878"/>
              <a:gd name="connsiteY68" fmla="*/ 216327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235878" h="6857999">
                <a:moveTo>
                  <a:pt x="750460" y="6019914"/>
                </a:moveTo>
                <a:lnTo>
                  <a:pt x="750460" y="6412896"/>
                </a:lnTo>
                <a:lnTo>
                  <a:pt x="1087656" y="6215785"/>
                </a:lnTo>
                <a:close/>
                <a:moveTo>
                  <a:pt x="4065891" y="5358483"/>
                </a:moveTo>
                <a:lnTo>
                  <a:pt x="4065891" y="5784421"/>
                </a:lnTo>
                <a:lnTo>
                  <a:pt x="3700419" y="5570780"/>
                </a:lnTo>
                <a:close/>
                <a:moveTo>
                  <a:pt x="2573632" y="4532742"/>
                </a:moveTo>
                <a:lnTo>
                  <a:pt x="2233956" y="4726134"/>
                </a:lnTo>
                <a:lnTo>
                  <a:pt x="2233956" y="5116636"/>
                </a:lnTo>
                <a:lnTo>
                  <a:pt x="2573632" y="5316226"/>
                </a:lnTo>
                <a:lnTo>
                  <a:pt x="2573632" y="4925724"/>
                </a:lnTo>
                <a:close/>
                <a:moveTo>
                  <a:pt x="4436740" y="3431686"/>
                </a:moveTo>
                <a:lnTo>
                  <a:pt x="4802213" y="3645327"/>
                </a:lnTo>
                <a:lnTo>
                  <a:pt x="4436740" y="3857624"/>
                </a:lnTo>
                <a:lnTo>
                  <a:pt x="4068579" y="3645327"/>
                </a:lnTo>
                <a:close/>
                <a:moveTo>
                  <a:pt x="3346500" y="2809931"/>
                </a:moveTo>
                <a:lnTo>
                  <a:pt x="3346500" y="3202913"/>
                </a:lnTo>
                <a:lnTo>
                  <a:pt x="3686176" y="3007041"/>
                </a:lnTo>
                <a:close/>
                <a:moveTo>
                  <a:pt x="1465119" y="1729739"/>
                </a:moveTo>
                <a:lnTo>
                  <a:pt x="1125444" y="1925609"/>
                </a:lnTo>
                <a:lnTo>
                  <a:pt x="1465119" y="2125199"/>
                </a:lnTo>
                <a:close/>
                <a:moveTo>
                  <a:pt x="1125444" y="1087369"/>
                </a:moveTo>
                <a:lnTo>
                  <a:pt x="1125444" y="1480351"/>
                </a:lnTo>
                <a:lnTo>
                  <a:pt x="1465120" y="1284480"/>
                </a:lnTo>
                <a:close/>
                <a:moveTo>
                  <a:pt x="3703106" y="891654"/>
                </a:moveTo>
                <a:lnTo>
                  <a:pt x="3365910" y="1090004"/>
                </a:lnTo>
                <a:lnTo>
                  <a:pt x="3365910" y="1482986"/>
                </a:lnTo>
                <a:lnTo>
                  <a:pt x="3703106" y="1680096"/>
                </a:lnTo>
                <a:lnTo>
                  <a:pt x="4040302" y="1482986"/>
                </a:lnTo>
                <a:lnTo>
                  <a:pt x="3703106" y="1287115"/>
                </a:lnTo>
                <a:close/>
                <a:moveTo>
                  <a:pt x="736322" y="445102"/>
                </a:moveTo>
                <a:lnTo>
                  <a:pt x="399126" y="642213"/>
                </a:lnTo>
                <a:lnTo>
                  <a:pt x="736322" y="838084"/>
                </a:lnTo>
                <a:lnTo>
                  <a:pt x="1073518" y="642213"/>
                </a:lnTo>
                <a:close/>
                <a:moveTo>
                  <a:pt x="4434052" y="428625"/>
                </a:moveTo>
                <a:lnTo>
                  <a:pt x="4434052" y="858594"/>
                </a:lnTo>
                <a:lnTo>
                  <a:pt x="4068580" y="642266"/>
                </a:lnTo>
                <a:close/>
                <a:moveTo>
                  <a:pt x="370849" y="0"/>
                </a:moveTo>
                <a:lnTo>
                  <a:pt x="3321508" y="0"/>
                </a:lnTo>
                <a:lnTo>
                  <a:pt x="3321508" y="216327"/>
                </a:lnTo>
                <a:lnTo>
                  <a:pt x="3696387" y="428624"/>
                </a:lnTo>
                <a:lnTo>
                  <a:pt x="3696387" y="854562"/>
                </a:lnTo>
                <a:lnTo>
                  <a:pt x="4065891" y="1073577"/>
                </a:lnTo>
                <a:lnTo>
                  <a:pt x="4065891" y="3642639"/>
                </a:lnTo>
                <a:lnTo>
                  <a:pt x="3693700" y="3857623"/>
                </a:lnTo>
                <a:lnTo>
                  <a:pt x="3693700" y="4283561"/>
                </a:lnTo>
                <a:lnTo>
                  <a:pt x="3325539" y="4499889"/>
                </a:lnTo>
                <a:lnTo>
                  <a:pt x="3325539" y="5354452"/>
                </a:lnTo>
                <a:lnTo>
                  <a:pt x="2957377" y="5570780"/>
                </a:lnTo>
                <a:lnTo>
                  <a:pt x="2957377" y="6852624"/>
                </a:lnTo>
                <a:lnTo>
                  <a:pt x="2957377" y="6857998"/>
                </a:lnTo>
                <a:lnTo>
                  <a:pt x="2960065" y="6857998"/>
                </a:lnTo>
                <a:lnTo>
                  <a:pt x="5235878" y="6857998"/>
                </a:lnTo>
                <a:lnTo>
                  <a:pt x="5235878" y="6857999"/>
                </a:lnTo>
                <a:lnTo>
                  <a:pt x="0" y="6857999"/>
                </a:lnTo>
                <a:lnTo>
                  <a:pt x="0" y="6857998"/>
                </a:lnTo>
                <a:lnTo>
                  <a:pt x="368162" y="6857998"/>
                </a:lnTo>
                <a:lnTo>
                  <a:pt x="368162" y="5787108"/>
                </a:lnTo>
                <a:lnTo>
                  <a:pt x="736323" y="5574811"/>
                </a:lnTo>
                <a:lnTo>
                  <a:pt x="736323" y="3431686"/>
                </a:lnTo>
                <a:lnTo>
                  <a:pt x="368162" y="3212670"/>
                </a:lnTo>
                <a:lnTo>
                  <a:pt x="368162" y="2358109"/>
                </a:lnTo>
                <a:lnTo>
                  <a:pt x="739009" y="2145813"/>
                </a:lnTo>
                <a:lnTo>
                  <a:pt x="739009" y="1713156"/>
                </a:lnTo>
                <a:lnTo>
                  <a:pt x="368162" y="1499515"/>
                </a:lnTo>
                <a:lnTo>
                  <a:pt x="370849" y="1068203"/>
                </a:lnTo>
                <a:lnTo>
                  <a:pt x="0" y="854562"/>
                </a:lnTo>
                <a:lnTo>
                  <a:pt x="0" y="428624"/>
                </a:lnTo>
                <a:lnTo>
                  <a:pt x="370849" y="216327"/>
                </a:lnTo>
                <a:close/>
              </a:path>
            </a:pathLst>
          </a:custGeom>
        </p:spPr>
        <p:txBody>
          <a:bodyPr wrap="square">
            <a:noAutofit/>
          </a:bodyPr>
          <a:lstStyle>
            <a:lvl1pPr marL="0" indent="0">
              <a:buNone/>
              <a:defRPr sz="120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to add picture</a:t>
            </a:r>
            <a:endParaRPr lang="ar-SA"/>
          </a:p>
        </p:txBody>
      </p:sp>
      <p:sp>
        <p:nvSpPr>
          <p:cNvPr id="18" name="Title 1">
            <a:extLst>
              <a:ext uri="{FF2B5EF4-FFF2-40B4-BE49-F238E27FC236}">
                <a16:creationId xmlns:a16="http://schemas.microsoft.com/office/drawing/2014/main" id="{31BBA778-64E4-9C4C-8806-1A8C377A972B}"/>
              </a:ext>
            </a:extLst>
          </p:cNvPr>
          <p:cNvSpPr>
            <a:spLocks noGrp="1"/>
          </p:cNvSpPr>
          <p:nvPr>
            <p:ph type="title" hasCustomPrompt="1"/>
          </p:nvPr>
        </p:nvSpPr>
        <p:spPr>
          <a:xfrm>
            <a:off x="6497354" y="1496859"/>
            <a:ext cx="3796431" cy="2674307"/>
          </a:xfrm>
        </p:spPr>
        <p:txBody>
          <a:bodyPr lIns="0" tIns="0" rIns="0" bIns="0" anchor="b">
            <a:noAutofit/>
          </a:bodyPr>
          <a:lstStyle>
            <a:lvl1pPr>
              <a:defRPr sz="2800" b="0">
                <a:latin typeface="Arial" panose="020B0604020202020204" pitchFamily="34" charset="0"/>
                <a:ea typeface="+mj-ea"/>
                <a:cs typeface="Arial" panose="020B0604020202020204" pitchFamily="34" charset="0"/>
                <a:sym typeface="Arial" panose="020B0604020202020204" pitchFamily="34" charset="0"/>
              </a:defRPr>
            </a:lvl1pPr>
          </a:lstStyle>
          <a:p>
            <a:r>
              <a:rPr lang="en-US"/>
              <a:t>Divider title goes here</a:t>
            </a:r>
            <a:endParaRPr lang="ar-SA"/>
          </a:p>
        </p:txBody>
      </p:sp>
      <p:sp>
        <p:nvSpPr>
          <p:cNvPr id="20" name="Text Placeholder 2">
            <a:extLst>
              <a:ext uri="{FF2B5EF4-FFF2-40B4-BE49-F238E27FC236}">
                <a16:creationId xmlns:a16="http://schemas.microsoft.com/office/drawing/2014/main" id="{F91C9796-CB07-194B-B62D-8AC12B657E13}"/>
              </a:ext>
            </a:extLst>
          </p:cNvPr>
          <p:cNvSpPr>
            <a:spLocks noGrp="1"/>
          </p:cNvSpPr>
          <p:nvPr>
            <p:ph type="body" idx="1" hasCustomPrompt="1"/>
          </p:nvPr>
        </p:nvSpPr>
        <p:spPr>
          <a:xfrm>
            <a:off x="6497354" y="4280981"/>
            <a:ext cx="1679013" cy="1688273"/>
          </a:xfrm>
        </p:spPr>
        <p:txBody>
          <a:bodyPr lIns="0" tIns="0" rIns="0" bIns="0">
            <a:noAutofit/>
          </a:bodyPr>
          <a:lstStyle>
            <a:lvl1pPr marL="0" indent="0">
              <a:buNone/>
              <a:defRPr sz="12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
        <p:nvSpPr>
          <p:cNvPr id="22" name="Text Placeholder 2">
            <a:extLst>
              <a:ext uri="{FF2B5EF4-FFF2-40B4-BE49-F238E27FC236}">
                <a16:creationId xmlns:a16="http://schemas.microsoft.com/office/drawing/2014/main" id="{7940D795-3B71-D04C-A435-56E00A183FAE}"/>
              </a:ext>
            </a:extLst>
          </p:cNvPr>
          <p:cNvSpPr>
            <a:spLocks noGrp="1"/>
          </p:cNvSpPr>
          <p:nvPr>
            <p:ph type="body" idx="11" hasCustomPrompt="1"/>
          </p:nvPr>
        </p:nvSpPr>
        <p:spPr>
          <a:xfrm>
            <a:off x="8614772" y="4280981"/>
            <a:ext cx="1679013" cy="1688273"/>
          </a:xfrm>
        </p:spPr>
        <p:txBody>
          <a:bodyPr lIns="0" tIns="0" rIns="0" bIns="0">
            <a:noAutofit/>
          </a:bodyPr>
          <a:lstStyle>
            <a:lvl1pPr marL="0" indent="0">
              <a:buNone/>
              <a:defRPr sz="1200">
                <a:solidFill>
                  <a:srgbClr val="8D8FA4"/>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Divider subtitle goes here</a:t>
            </a:r>
          </a:p>
        </p:txBody>
      </p:sp>
    </p:spTree>
    <p:extLst>
      <p:ext uri="{BB962C8B-B14F-4D97-AF65-F5344CB8AC3E}">
        <p14:creationId xmlns:p14="http://schemas.microsoft.com/office/powerpoint/2010/main" val="3008631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0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09A520-7CEC-426E-B2CA-4F5F2C211A2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bwMode="blackWhite">
          <a:xfrm>
            <a:off x="695325" y="3826800"/>
            <a:ext cx="10764836" cy="2041200"/>
          </a:xfrm>
        </p:spPr>
        <p:txBody>
          <a:bodyPr anchor="t">
            <a:noAutofit/>
          </a:bodyPr>
          <a:lstStyle>
            <a:lvl1pPr>
              <a:defRPr sz="5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95325" y="3680016"/>
            <a:ext cx="1149326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Footer Placeholder 4">
            <a:extLst>
              <a:ext uri="{FF2B5EF4-FFF2-40B4-BE49-F238E27FC236}">
                <a16:creationId xmlns:a16="http://schemas.microsoft.com/office/drawing/2014/main" id="{70A1375A-DCBE-477B-889E-0977C65F1BB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4224483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3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12507-129C-4183-8806-06ACE8BDAEC3}"/>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73370">
                  <a:lumMod val="10000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Footer Placeholder 4">
            <a:extLst>
              <a:ext uri="{FF2B5EF4-FFF2-40B4-BE49-F238E27FC236}">
                <a16:creationId xmlns:a16="http://schemas.microsoft.com/office/drawing/2014/main" id="{32062484-948A-4BC3-865B-7BEABC001836}"/>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3484259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6"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7BAC85-A7A7-4960-97E0-1917DD42A2F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3"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10424310"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66" name="Group 65"/>
          <p:cNvGrpSpPr/>
          <p:nvPr userDrawn="1"/>
        </p:nvGrpSpPr>
        <p:grpSpPr>
          <a:xfrm>
            <a:off x="397420" y="550751"/>
            <a:ext cx="462459" cy="576905"/>
            <a:chOff x="324330" y="590555"/>
            <a:chExt cx="608641" cy="759263"/>
          </a:xfrm>
        </p:grpSpPr>
        <p:sp>
          <p:nvSpPr>
            <p:cNvPr id="67" name="Parallelogram 66"/>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Rectangle 67"/>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1" name="Footer Placeholder 4">
            <a:extLst>
              <a:ext uri="{FF2B5EF4-FFF2-40B4-BE49-F238E27FC236}">
                <a16:creationId xmlns:a16="http://schemas.microsoft.com/office/drawing/2014/main" id="{E4445429-B723-42A9-B1C4-5E530DDA9A3B}"/>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rPr>
              <a:t>NCAI | Activation Programme</a:t>
            </a:r>
          </a:p>
        </p:txBody>
      </p:sp>
      <p:sp>
        <p:nvSpPr>
          <p:cNvPr id="15" name="Text Placeholder 3">
            <a:extLst>
              <a:ext uri="{FF2B5EF4-FFF2-40B4-BE49-F238E27FC236}">
                <a16:creationId xmlns:a16="http://schemas.microsoft.com/office/drawing/2014/main" id="{8E7414D5-490B-4BB7-8FC7-26F1A91E306B}"/>
              </a:ext>
            </a:extLst>
          </p:cNvPr>
          <p:cNvSpPr>
            <a:spLocks noGrp="1"/>
          </p:cNvSpPr>
          <p:nvPr>
            <p:ph idx="1" hasCustomPrompt="1"/>
          </p:nvPr>
        </p:nvSpPr>
        <p:spPr>
          <a:xfrm>
            <a:off x="695325" y="1959430"/>
            <a:ext cx="10764836" cy="3978184"/>
          </a:xfrm>
          <a:prstGeom prst="rect">
            <a:avLst/>
          </a:prstGeom>
        </p:spPr>
        <p:txBody>
          <a:bodyPr vert="horz" lIns="0" tIns="0" rIns="0" bIns="0" rtlCol="0">
            <a:noAutofit/>
          </a:bodyPr>
          <a:lstStyle>
            <a:lvl1pPr>
              <a:defRPr sz="1400">
                <a:latin typeface="Arial" panose="020B0604020202020204" pitchFamily="34" charset="0"/>
                <a:ea typeface="+mn-ea"/>
                <a:cs typeface="Arial" panose="020B0604020202020204" pitchFamily="34" charset="0"/>
                <a:sym typeface="Arial" panose="020B0604020202020204" pitchFamily="34" charset="0"/>
              </a:defRPr>
            </a:lvl1pPr>
            <a:lvl2pPr>
              <a:defRPr sz="1400">
                <a:latin typeface="+mn-lt"/>
                <a:ea typeface="+mn-ea"/>
                <a:cs typeface="+mn-cs"/>
                <a:sym typeface="+mn-lt"/>
              </a:defRPr>
            </a:lvl2pPr>
            <a:lvl3pPr>
              <a:defRPr sz="1400">
                <a:latin typeface="+mn-lt"/>
                <a:ea typeface="+mn-ea"/>
                <a:cs typeface="+mn-cs"/>
                <a:sym typeface="+mn-lt"/>
              </a:defRPr>
            </a:lvl3pPr>
          </a:lstStyle>
          <a:p>
            <a:pPr lvl="0"/>
            <a:r>
              <a:rPr lang="en-US"/>
              <a:t>Edit Master text styles</a:t>
            </a:r>
          </a:p>
        </p:txBody>
      </p:sp>
    </p:spTree>
    <p:extLst>
      <p:ext uri="{BB962C8B-B14F-4D97-AF65-F5344CB8AC3E}">
        <p14:creationId xmlns:p14="http://schemas.microsoft.com/office/powerpoint/2010/main" val="1457615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8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3058E2-654C-4943-A842-B045826FB62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p:cNvSpPr>
            <a:spLocks noGrp="1"/>
          </p:cNvSpPr>
          <p:nvPr>
            <p:ph type="title" hasCustomPrompt="1"/>
          </p:nvPr>
        </p:nvSpPr>
        <p:spPr bwMode="ltGray">
          <a:xfrm>
            <a:off x="695325" y="1544274"/>
            <a:ext cx="3452400" cy="1495794"/>
          </a:xfrm>
          <a:noFill/>
        </p:spPr>
        <p:txBody>
          <a:bodyPr wrap="square" lIns="0" tIns="0" rIns="320040" bIns="0" anchor="b">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ooter Placeholder 4">
            <a:extLst>
              <a:ext uri="{FF2B5EF4-FFF2-40B4-BE49-F238E27FC236}">
                <a16:creationId xmlns:a16="http://schemas.microsoft.com/office/drawing/2014/main" id="{433431CA-EF7D-4BD3-9189-190FAA23A614}"/>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2185104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92914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3058E2-654C-4943-A842-B045826FB62A}"/>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p:cNvSpPr>
            <a:spLocks noGrp="1"/>
          </p:cNvSpPr>
          <p:nvPr>
            <p:ph type="title" hasCustomPrompt="1"/>
          </p:nvPr>
        </p:nvSpPr>
        <p:spPr bwMode="ltGray">
          <a:xfrm>
            <a:off x="695325" y="1544274"/>
            <a:ext cx="3452400" cy="1495794"/>
          </a:xfrm>
          <a:noFill/>
        </p:spPr>
        <p:txBody>
          <a:bodyPr wrap="square" lIns="0" tIns="0" rIns="320040" bIns="0" anchor="b">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10" name="Footer Placeholder 4">
            <a:extLst>
              <a:ext uri="{FF2B5EF4-FFF2-40B4-BE49-F238E27FC236}">
                <a16:creationId xmlns:a16="http://schemas.microsoft.com/office/drawing/2014/main" id="{433431CA-EF7D-4BD3-9189-190FAA23A614}"/>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400874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0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9"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Footer Placeholder 4">
            <a:extLst>
              <a:ext uri="{FF2B5EF4-FFF2-40B4-BE49-F238E27FC236}">
                <a16:creationId xmlns:a16="http://schemas.microsoft.com/office/drawing/2014/main" id="{796A6AAC-4F51-45EA-8027-FBF6CD717D38}"/>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119533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EFFB2A1-91F1-4E25-979E-A2E04890AA1E}"/>
              </a:ext>
            </a:extLst>
          </p:cNvPr>
          <p:cNvPicPr>
            <a:picLocks noChangeAspect="1"/>
          </p:cNvPicPr>
          <p:nvPr userDrawn="1"/>
        </p:nvPicPr>
        <p:blipFill rotWithShape="1">
          <a:blip r:embed="rId4">
            <a:duotone>
              <a:prstClr val="black"/>
              <a:srgbClr val="BEBEBE">
                <a:tint val="45000"/>
                <a:satMod val="400000"/>
              </a:srgbClr>
            </a:duotone>
          </a:blip>
          <a:srcRect l="5423"/>
          <a:stretch/>
        </p:blipFill>
        <p:spPr>
          <a:xfrm>
            <a:off x="0" y="0"/>
            <a:ext cx="12192000" cy="6858000"/>
          </a:xfrm>
          <a:prstGeom prst="rect">
            <a:avLst/>
          </a:prstGeom>
        </p:spPr>
      </p:pic>
      <p:sp>
        <p:nvSpPr>
          <p:cNvPr id="8" name="Rectangle 7">
            <a:extLst>
              <a:ext uri="{FF2B5EF4-FFF2-40B4-BE49-F238E27FC236}">
                <a16:creationId xmlns:a16="http://schemas.microsoft.com/office/drawing/2014/main" id="{5F9A0C22-E711-4648-9FCB-E45E8E434E41}"/>
              </a:ext>
            </a:extLst>
          </p:cNvPr>
          <p:cNvSpPr/>
          <p:nvPr userDrawn="1"/>
        </p:nvSpPr>
        <p:spPr>
          <a:xfrm>
            <a:off x="3048" y="0"/>
            <a:ext cx="12188952" cy="6858000"/>
          </a:xfrm>
          <a:prstGeom prst="rect">
            <a:avLst/>
          </a:prstGeom>
          <a:solidFill>
            <a:srgbClr val="5A5A5A">
              <a:alpha val="74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2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9" name="Date Placeholder 2"/>
          <p:cNvSpPr>
            <a:spLocks noGrp="1"/>
          </p:cNvSpPr>
          <p:nvPr>
            <p:ph type="dt" sz="half" idx="10"/>
          </p:nvPr>
        </p:nvSpPr>
        <p:spPr>
          <a:xfrm>
            <a:off x="9677400" y="6461970"/>
            <a:ext cx="1482051" cy="153888"/>
          </a:xfrm>
          <a:prstGeom prst="rect">
            <a:avLst/>
          </a:prstGeom>
        </p:spPr>
        <p:txBody>
          <a:bodyPr/>
          <a:lstStyle>
            <a:lvl1pPr>
              <a:defRPr>
                <a:solidFill>
                  <a:srgbClr val="8C8C8C"/>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8C8C8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Footer Placeholder 4">
            <a:extLst>
              <a:ext uri="{FF2B5EF4-FFF2-40B4-BE49-F238E27FC236}">
                <a16:creationId xmlns:a16="http://schemas.microsoft.com/office/drawing/2014/main" id="{36D6F29D-DE9D-4743-AF90-DCEDCC3B9E5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545294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5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0" name="TextBox 9"/>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Footer Placeholder 4">
            <a:extLst>
              <a:ext uri="{FF2B5EF4-FFF2-40B4-BE49-F238E27FC236}">
                <a16:creationId xmlns:a16="http://schemas.microsoft.com/office/drawing/2014/main" id="{2D34E992-CC4C-44C9-8456-BC4D918C9A2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2673754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76"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CC736E-F5ED-4412-AFAD-BD08C41F0412}"/>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2" name="TextBox 11"/>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Footer Placeholder 4">
            <a:extLst>
              <a:ext uri="{FF2B5EF4-FFF2-40B4-BE49-F238E27FC236}">
                <a16:creationId xmlns:a16="http://schemas.microsoft.com/office/drawing/2014/main" id="{A321573E-17E0-4ADD-9098-B126877D7CE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1970115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10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0368C4-D68E-47CF-9671-7D99823E7821}"/>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2"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5850949" cy="909637"/>
          </a:xfrm>
        </p:spPr>
        <p:txBody>
          <a:bodyPr lIns="0" tIns="0" rIns="0" bIns="0" anchor="t" anchorCtr="0">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9" name="TextBox 18"/>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71" name="Group 70"/>
          <p:cNvGrpSpPr/>
          <p:nvPr userDrawn="1"/>
        </p:nvGrpSpPr>
        <p:grpSpPr>
          <a:xfrm>
            <a:off x="293898" y="558343"/>
            <a:ext cx="669505" cy="835189"/>
            <a:chOff x="324330" y="584804"/>
            <a:chExt cx="608641" cy="759263"/>
          </a:xfrm>
        </p:grpSpPr>
        <p:sp>
          <p:nvSpPr>
            <p:cNvPr id="72" name="Parallelogram 71"/>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3" name="Rectangle 72"/>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4" name="Footer Placeholder 4">
            <a:extLst>
              <a:ext uri="{FF2B5EF4-FFF2-40B4-BE49-F238E27FC236}">
                <a16:creationId xmlns:a16="http://schemas.microsoft.com/office/drawing/2014/main" id="{C4E2DF32-7AC8-4113-99F9-20C3217346C5}"/>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3412688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24"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646291E-DE10-4364-A565-9610F0EE1DAF}"/>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9" name="Picture 8"/>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0"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4267795" cy="909637"/>
          </a:xfrm>
        </p:spPr>
        <p:txBody>
          <a:bodyPr lIns="0" tIns="0" rIns="0" bIns="0" anchor="t" anchorCtr="0">
            <a:noAutofit/>
          </a:bodyPr>
          <a:lstStyle>
            <a:lvl1pPr rtl="0">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9"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78" name="Group 77"/>
          <p:cNvGrpSpPr/>
          <p:nvPr userDrawn="1"/>
        </p:nvGrpSpPr>
        <p:grpSpPr>
          <a:xfrm>
            <a:off x="293898" y="558343"/>
            <a:ext cx="669505" cy="835189"/>
            <a:chOff x="324330" y="584804"/>
            <a:chExt cx="608641" cy="759263"/>
          </a:xfrm>
        </p:grpSpPr>
        <p:sp>
          <p:nvSpPr>
            <p:cNvPr id="79" name="Parallelogram 78"/>
            <p:cNvSpPr/>
            <p:nvPr/>
          </p:nvSpPr>
          <p:spPr>
            <a:xfrm rot="5400000">
              <a:off x="249018" y="790981"/>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0" name="Rectangle 79"/>
            <p:cNvSpPr/>
            <p:nvPr/>
          </p:nvSpPr>
          <p:spPr>
            <a:xfrm rot="8954161" flipH="1" flipV="1">
              <a:off x="324330" y="904674"/>
              <a:ext cx="608641" cy="11273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23922444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4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0DC9F28-E4E2-418E-B810-B9C9EBBE7113}"/>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7" name="Title 4"/>
          <p:cNvSpPr>
            <a:spLocks noGrp="1"/>
          </p:cNvSpPr>
          <p:nvPr>
            <p:ph type="title" hasCustomPrompt="1"/>
          </p:nvPr>
        </p:nvSpPr>
        <p:spPr>
          <a:xfrm>
            <a:off x="695325" y="2681103"/>
            <a:ext cx="3062556" cy="1495794"/>
          </a:xfrm>
          <a:prstGeom prst="rect">
            <a:avLst/>
          </a:prstGeom>
        </p:spPr>
        <p:txBody>
          <a:bodyPr anchor="ctr">
            <a:noAutofit/>
          </a:bodyPr>
          <a:lstStyle>
            <a:lvl1pPr>
              <a:defRPr sz="3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24358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7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697BA8-C793-46E3-A441-E6E8A66948B0}"/>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95325" y="2681103"/>
            <a:ext cx="3062556" cy="1495794"/>
          </a:xfrm>
          <a:prstGeom prst="rect">
            <a:avLst/>
          </a:prstGeom>
        </p:spPr>
        <p:txBody>
          <a:bodyPr anchor="ctr">
            <a:noAutofit/>
          </a:bodyPr>
          <a:lstStyle>
            <a:lvl1pPr>
              <a:defRPr sz="3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Rectangle 12"/>
          <p:cNvSpPr/>
          <p:nvPr userDrawn="1"/>
        </p:nvSpPr>
        <p:spPr bwMode="white">
          <a:xfrm>
            <a:off x="3343701" y="-1309"/>
            <a:ext cx="8848299"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1" name="TextBox 20"/>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Footer Placeholder 4">
            <a:extLst>
              <a:ext uri="{FF2B5EF4-FFF2-40B4-BE49-F238E27FC236}">
                <a16:creationId xmlns:a16="http://schemas.microsoft.com/office/drawing/2014/main" id="{15C6CB8B-AAF3-4F17-9B5A-2845E3D61F0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2372244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743F5F-AA84-4D9A-87EA-C7897D7C6ABE}"/>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1" name="Picture 10"/>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95325" y="1785600"/>
            <a:ext cx="4323075" cy="3286800"/>
          </a:xfrm>
          <a:prstGeom prst="rect">
            <a:avLst/>
          </a:prstGeom>
          <a:noFill/>
        </p:spPr>
        <p:txBody>
          <a:bodyPr wrap="square" lIns="0" tIns="0" rIns="320040" bIns="0"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 name="Footer Placeholder 4">
            <a:extLst>
              <a:ext uri="{FF2B5EF4-FFF2-40B4-BE49-F238E27FC236}">
                <a16:creationId xmlns:a16="http://schemas.microsoft.com/office/drawing/2014/main" id="{33E26693-A5AA-4A1A-8AB7-E0F6CB510DFF}"/>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267831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50000">
              <a:srgbClr val="FF6633"/>
            </a:gs>
            <a:gs pos="0">
              <a:schemeClr val="accent6"/>
            </a:gs>
            <a:gs pos="100000">
              <a:schemeClr val="accent3"/>
            </a:gs>
          </a:gsLst>
          <a:lin ang="78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2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4A771F-A12C-4B8A-8A55-AC1E3438DEA4}"/>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9" name="Picture 8"/>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4" name="Title 1"/>
          <p:cNvSpPr>
            <a:spLocks noGrp="1"/>
          </p:cNvSpPr>
          <p:nvPr>
            <p:ph type="title" hasCustomPrompt="1"/>
          </p:nvPr>
        </p:nvSpPr>
        <p:spPr bwMode="blackWhite">
          <a:xfrm>
            <a:off x="695325" y="1804650"/>
            <a:ext cx="6182227" cy="3286800"/>
          </a:xfrm>
          <a:prstGeom prst="rect">
            <a:avLst/>
          </a:prstGeom>
        </p:spPr>
        <p:txBody>
          <a:bodyPr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title</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Footer Placeholder 4">
            <a:extLst>
              <a:ext uri="{FF2B5EF4-FFF2-40B4-BE49-F238E27FC236}">
                <a16:creationId xmlns:a16="http://schemas.microsoft.com/office/drawing/2014/main" id="{A3AC3489-A506-41EF-B0DD-559BD45F7A58}"/>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1795215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6971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6"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9"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796A6AAC-4F51-45EA-8027-FBF6CD717D38}"/>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3153386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44"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A0DB28-C9BC-4A51-B21F-A5F83D9D3E64}"/>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Title 4"/>
          <p:cNvSpPr>
            <a:spLocks noGrp="1"/>
          </p:cNvSpPr>
          <p:nvPr>
            <p:ph type="title" hasCustomPrompt="1"/>
          </p:nvPr>
        </p:nvSpPr>
        <p:spPr>
          <a:xfrm>
            <a:off x="695325" y="2681103"/>
            <a:ext cx="3127881" cy="1495794"/>
          </a:xfrm>
          <a:prstGeom prst="rect">
            <a:avLst/>
          </a:prstGeom>
        </p:spPr>
        <p:txBody>
          <a:bodyPr anchor="ctr">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Footer Placeholder 4">
            <a:extLst>
              <a:ext uri="{FF2B5EF4-FFF2-40B4-BE49-F238E27FC236}">
                <a16:creationId xmlns:a16="http://schemas.microsoft.com/office/drawing/2014/main" id="{57079B08-A88D-408E-A4FB-63466C5C3EFD}"/>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1239073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68"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F16EF6E-2943-4A67-952E-1123FA7CB4D7}"/>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6"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5870679"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23" name="TextBox 22"/>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4"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67" name="Group 66"/>
          <p:cNvGrpSpPr/>
          <p:nvPr userDrawn="1"/>
        </p:nvGrpSpPr>
        <p:grpSpPr>
          <a:xfrm>
            <a:off x="397420" y="550751"/>
            <a:ext cx="462459" cy="576905"/>
            <a:chOff x="324330" y="590555"/>
            <a:chExt cx="608641" cy="759263"/>
          </a:xfrm>
        </p:grpSpPr>
        <p:sp>
          <p:nvSpPr>
            <p:cNvPr id="68" name="Parallelogram 67"/>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Rectangle 68"/>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3" name="Footer Placeholder 4">
            <a:extLst>
              <a:ext uri="{FF2B5EF4-FFF2-40B4-BE49-F238E27FC236}">
                <a16:creationId xmlns:a16="http://schemas.microsoft.com/office/drawing/2014/main" id="{B5561E72-799C-47D6-8F43-2823139F310A}"/>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1143225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92"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F937071-16F6-49D0-8637-D169075F0F0E}"/>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8"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1035851" y="512763"/>
            <a:ext cx="7695733" cy="664797"/>
          </a:xfrm>
        </p:spPr>
        <p:txBody>
          <a:bodyPr lIns="0" tIns="0" rIns="0" bIns="0" anchor="t" anchorCtr="0">
            <a:noAutofit/>
          </a:bodyPr>
          <a:lstStyle>
            <a:lvl1pPr>
              <a:defRPr sz="240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7" name="TextBox 16"/>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3"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67" name="Group 66"/>
          <p:cNvGrpSpPr/>
          <p:nvPr userDrawn="1"/>
        </p:nvGrpSpPr>
        <p:grpSpPr>
          <a:xfrm>
            <a:off x="397420" y="550751"/>
            <a:ext cx="462459" cy="576905"/>
            <a:chOff x="324330" y="590555"/>
            <a:chExt cx="608641" cy="759263"/>
          </a:xfrm>
        </p:grpSpPr>
        <p:sp>
          <p:nvSpPr>
            <p:cNvPr id="68" name="Parallelogram 67"/>
            <p:cNvSpPr/>
            <p:nvPr/>
          </p:nvSpPr>
          <p:spPr>
            <a:xfrm rot="5400000">
              <a:off x="249018" y="796732"/>
              <a:ext cx="759263" cy="346910"/>
            </a:xfrm>
            <a:prstGeom prst="parallelogram">
              <a:avLst>
                <a:gd name="adj" fmla="val 60145"/>
              </a:avLst>
            </a:prstGeom>
            <a:gradFill>
              <a:gsLst>
                <a:gs pos="50000">
                  <a:srgbClr val="FF6633"/>
                </a:gs>
                <a:gs pos="100000">
                  <a:srgbClr val="FDBD4D"/>
                </a:gs>
                <a:gs pos="0">
                  <a:srgbClr val="273470"/>
                </a:gs>
              </a:gsLst>
              <a:lin ang="108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Rectangle 68"/>
            <p:cNvSpPr/>
            <p:nvPr/>
          </p:nvSpPr>
          <p:spPr>
            <a:xfrm rot="8954161" flipH="1" flipV="1">
              <a:off x="324330" y="915653"/>
              <a:ext cx="608641" cy="11273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3" name="Footer Placeholder 4">
            <a:extLst>
              <a:ext uri="{FF2B5EF4-FFF2-40B4-BE49-F238E27FC236}">
                <a16:creationId xmlns:a16="http://schemas.microsoft.com/office/drawing/2014/main" id="{0DBECB86-27DD-4597-AFC5-6FD277B0963C}"/>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40475714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1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B0258A4-73B9-4C1E-A4CB-001C7774026F}"/>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50000">
                <a:srgbClr val="FF6633"/>
              </a:gs>
              <a:gs pos="0">
                <a:srgbClr val="FDBD4D"/>
              </a:gs>
              <a:gs pos="100000">
                <a:srgbClr val="273370"/>
              </a:gs>
            </a:gsLst>
            <a:lin ang="8100000" scaled="0"/>
          </a:gra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itle 1">
            <a:extLst>
              <a:ext uri="{FF2B5EF4-FFF2-40B4-BE49-F238E27FC236}">
                <a16:creationId xmlns:a16="http://schemas.microsoft.com/office/drawing/2014/main" id="{9C58E1BF-5AA8-2C40-974E-F98022B059BD}"/>
              </a:ext>
            </a:extLst>
          </p:cNvPr>
          <p:cNvSpPr>
            <a:spLocks noGrp="1"/>
          </p:cNvSpPr>
          <p:nvPr>
            <p:ph type="title" hasCustomPrompt="1"/>
          </p:nvPr>
        </p:nvSpPr>
        <p:spPr>
          <a:xfrm>
            <a:off x="695325" y="512763"/>
            <a:ext cx="6191475" cy="909637"/>
          </a:xfrm>
        </p:spPr>
        <p:txBody>
          <a:bodyPr lIns="0" tIns="0" rIns="0" bIns="0" anchor="t" anchorCtr="0">
            <a:noAutofit/>
          </a:bodyPr>
          <a:lstStyle>
            <a:lvl1pPr>
              <a:defRPr sz="3400">
                <a:solidFill>
                  <a:srgbClr val="FFFFFF"/>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endParaRPr lang="ar-SA"/>
          </a:p>
        </p:txBody>
      </p:sp>
      <p:sp>
        <p:nvSpPr>
          <p:cNvPr id="13" name="TextBox 12"/>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ooter Placeholder 4">
            <a:extLst>
              <a:ext uri="{FF2B5EF4-FFF2-40B4-BE49-F238E27FC236}">
                <a16:creationId xmlns:a16="http://schemas.microsoft.com/office/drawing/2014/main" id="{28FD4921-A06A-4B9C-A2E5-6B875F7A0CE2}"/>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1311260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4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04C449-08C3-4D76-B123-D2CF2903CE5B}"/>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95325" y="1785600"/>
            <a:ext cx="4388400" cy="3286800"/>
          </a:xfrm>
          <a:prstGeom prst="rect">
            <a:avLst/>
          </a:prstGeom>
          <a:noFill/>
        </p:spPr>
        <p:txBody>
          <a:bodyPr wrap="square" lIns="0" tIns="0" rIns="320040" bIns="0"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Footer Placeholder 4">
            <a:extLst>
              <a:ext uri="{FF2B5EF4-FFF2-40B4-BE49-F238E27FC236}">
                <a16:creationId xmlns:a16="http://schemas.microsoft.com/office/drawing/2014/main" id="{0FC45F85-C8B5-4ACD-9DA5-8AE131085723}"/>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1630139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64"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D4C3107-4412-41E1-813C-6AFC8D21638D}"/>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15" name="Title 1"/>
          <p:cNvSpPr>
            <a:spLocks noGrp="1"/>
          </p:cNvSpPr>
          <p:nvPr>
            <p:ph type="title" hasCustomPrompt="1"/>
          </p:nvPr>
        </p:nvSpPr>
        <p:spPr bwMode="black">
          <a:xfrm>
            <a:off x="695325" y="1785600"/>
            <a:ext cx="6247552" cy="3286800"/>
          </a:xfrm>
          <a:prstGeom prst="rect">
            <a:avLst/>
          </a:prstGeom>
        </p:spPr>
        <p:txBody>
          <a:bodyPr anchor="ctr">
            <a:noAutofit/>
          </a:bodyPr>
          <a:lstStyle>
            <a:lvl1pPr>
              <a:defRPr sz="440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title</a:t>
            </a:r>
          </a:p>
        </p:txBody>
      </p:sp>
      <p:sp>
        <p:nvSpPr>
          <p:cNvPr id="16" name="TextBox 15"/>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Footer Placeholder 4">
            <a:extLst>
              <a:ext uri="{FF2B5EF4-FFF2-40B4-BE49-F238E27FC236}">
                <a16:creationId xmlns:a16="http://schemas.microsoft.com/office/drawing/2014/main" id="{1C2617A8-F868-4DAB-9699-EA6828B5BDE2}"/>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948653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88" name="think-cell Slide" r:id="rId6" imgW="352" imgH="355" progId="TCLayout.ActiveDocument.1">
                  <p:embed/>
                </p:oleObj>
              </mc:Choice>
              <mc:Fallback>
                <p:oleObj name="think-cell Slide" r:id="rId6" imgW="352" imgH="355"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7753F9-F39C-4B13-917D-DD2415153001}"/>
              </a:ext>
            </a:extLst>
          </p:cNvPr>
          <p:cNvSpPr/>
          <p:nvPr userDrawn="1">
            <p:custDataLst>
              <p:tags r:id="rId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8" name="Title 1"/>
          <p:cNvSpPr>
            <a:spLocks noGrp="1"/>
          </p:cNvSpPr>
          <p:nvPr>
            <p:ph type="title" hasCustomPrompt="1"/>
          </p:nvPr>
        </p:nvSpPr>
        <p:spPr>
          <a:xfrm>
            <a:off x="695325" y="3826333"/>
            <a:ext cx="10764836"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1" name="TextBox 10"/>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Date Placeholder 2"/>
          <p:cNvSpPr>
            <a:spLocks noGrp="1"/>
          </p:cNvSpPr>
          <p:nvPr>
            <p:ph type="dt" sz="half" idx="10"/>
          </p:nvPr>
        </p:nvSpPr>
        <p:spPr>
          <a:xfrm>
            <a:off x="9677400" y="6461970"/>
            <a:ext cx="1482051" cy="153888"/>
          </a:xfrm>
          <a:prstGeom prst="rect">
            <a:avLst/>
          </a:prstGeom>
        </p:spPr>
        <p:txBody>
          <a:bodyPr/>
          <a:lstStyle>
            <a:lvl1pPr>
              <a:defRPr>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ooter Placeholder 4">
            <a:extLst>
              <a:ext uri="{FF2B5EF4-FFF2-40B4-BE49-F238E27FC236}">
                <a16:creationId xmlns:a16="http://schemas.microsoft.com/office/drawing/2014/main" id="{344F081F-DFD4-4E2E-9056-89696760EC05}"/>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bg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2168689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1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EF0D14-F75B-4E98-A66F-85C6DA42089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sp>
        <p:nvSpPr>
          <p:cNvPr id="6" name="Rectangle 5"/>
          <p:cNvSpPr/>
          <p:nvPr userDrawn="1"/>
        </p:nvSpPr>
        <p:spPr bwMode="white">
          <a:xfrm>
            <a:off x="695325"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73370">
                  <a:lumMod val="10000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95325" y="3826333"/>
            <a:ext cx="10764836"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3" name="Date Placeholder 2"/>
          <p:cNvSpPr>
            <a:spLocks noGrp="1"/>
          </p:cNvSpPr>
          <p:nvPr>
            <p:ph type="dt" sz="half" idx="10"/>
          </p:nvPr>
        </p:nvSpPr>
        <p:spPr>
          <a:xfrm>
            <a:off x="9677400" y="6461970"/>
            <a:ext cx="1482051" cy="153888"/>
          </a:xfrm>
          <a:prstGeom prst="rect">
            <a:avLst/>
          </a:prstGeom>
        </p:spPr>
        <p:txBody>
          <a:bodyPr/>
          <a:lstStyle>
            <a:lvl1pPr>
              <a:defRPr>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Footer Placeholder 4">
            <a:extLst>
              <a:ext uri="{FF2B5EF4-FFF2-40B4-BE49-F238E27FC236}">
                <a16:creationId xmlns:a16="http://schemas.microsoft.com/office/drawing/2014/main" id="{DC5B5F85-037A-4505-9EC5-C5E020D4EFB7}"/>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49355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50000">
              <a:srgbClr val="FF6633"/>
            </a:gs>
            <a:gs pos="0">
              <a:schemeClr val="accent6"/>
            </a:gs>
            <a:gs pos="100000">
              <a:schemeClr val="accent3"/>
            </a:gs>
          </a:gsLst>
          <a:lin ang="81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TextBox 19"/>
          <p:cNvSpPr txBox="1"/>
          <p:nvPr userDrawn="1"/>
        </p:nvSpPr>
        <p:spPr>
          <a:xfrm>
            <a:off x="695325" y="2577934"/>
            <a:ext cx="2819400" cy="17617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6000"/>
              </a:lnSpc>
              <a:spcBef>
                <a:spcPts val="0"/>
              </a:spcBef>
              <a:spcAft>
                <a:spcPts val="700"/>
              </a:spcAft>
              <a:buClrTx/>
              <a:buSzTx/>
              <a:buFontTx/>
              <a:buNone/>
              <a:tabLst/>
              <a:defRPr/>
            </a:pPr>
            <a:r>
              <a:rPr kumimoji="0" lang="en-US" sz="54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Copyright © 2020 by Boston Consulting Group. All rights reserved.</a:t>
            </a: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0228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6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close up of a sign&#10;&#10;Description automatically generated">
            <a:extLst>
              <a:ext uri="{FF2B5EF4-FFF2-40B4-BE49-F238E27FC236}">
                <a16:creationId xmlns:a16="http://schemas.microsoft.com/office/drawing/2014/main" id="{D94AABE8-2A1C-0E43-A8D6-BD34859C67A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708"/>
            <a:ext cx="12192000" cy="6858000"/>
          </a:xfrm>
          <a:prstGeom prst="rect">
            <a:avLst/>
          </a:prstGeom>
        </p:spPr>
      </p:pic>
      <p:sp>
        <p:nvSpPr>
          <p:cNvPr id="10" name="Isosceles Triangle 9"/>
          <p:cNvSpPr/>
          <p:nvPr userDrawn="1"/>
        </p:nvSpPr>
        <p:spPr>
          <a:xfrm>
            <a:off x="7395884" y="4078941"/>
            <a:ext cx="4794997" cy="2779059"/>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337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DFDDE4B7-1CAB-C84F-90FD-9F68D636888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985971" y="5773271"/>
            <a:ext cx="1714713" cy="641445"/>
          </a:xfrm>
          <a:prstGeom prst="rect">
            <a:avLst/>
          </a:prstGeom>
        </p:spPr>
      </p:pic>
      <p:sp>
        <p:nvSpPr>
          <p:cNvPr id="12" name="Title 17"/>
          <p:cNvSpPr txBox="1">
            <a:spLocks/>
          </p:cNvSpPr>
          <p:nvPr userDrawn="1"/>
        </p:nvSpPr>
        <p:spPr>
          <a:xfrm>
            <a:off x="492125" y="1079647"/>
            <a:ext cx="7912966" cy="2999294"/>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4000" b="1" kern="1200">
                <a:solidFill>
                  <a:schemeClr val="bg1"/>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5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rPr>
              <a:t>Thank  you</a:t>
            </a:r>
          </a:p>
        </p:txBody>
      </p:sp>
    </p:spTree>
    <p:extLst>
      <p:ext uri="{BB962C8B-B14F-4D97-AF65-F5344CB8AC3E}">
        <p14:creationId xmlns:p14="http://schemas.microsoft.com/office/powerpoint/2010/main" val="3670731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image" Target="../media/image1.emf"/><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oleObject" Target="../embeddings/oleObject148.bin"/><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tags" Target="../tags/tag263.xml"/><Relationship Id="rId5" Type="http://schemas.openxmlformats.org/officeDocument/2006/relationships/slideLayout" Target="../slideLayouts/slideLayout151.xml"/><Relationship Id="rId10" Type="http://schemas.openxmlformats.org/officeDocument/2006/relationships/tags" Target="../tags/tag262.xml"/><Relationship Id="rId4" Type="http://schemas.openxmlformats.org/officeDocument/2006/relationships/slideLayout" Target="../slideLayouts/slideLayout150.xml"/><Relationship Id="rId9" Type="http://schemas.openxmlformats.org/officeDocument/2006/relationships/vmlDrawing" Target="../drawings/vmlDrawing148.v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13" Type="http://schemas.openxmlformats.org/officeDocument/2006/relationships/image" Target="../media/image1.emf"/><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oleObject" Target="../embeddings/oleObject148.bin"/><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ags" Target="../tags/tag276.xml"/><Relationship Id="rId5" Type="http://schemas.openxmlformats.org/officeDocument/2006/relationships/slideLayout" Target="../slideLayouts/slideLayout158.xml"/><Relationship Id="rId10" Type="http://schemas.openxmlformats.org/officeDocument/2006/relationships/tags" Target="../tags/tag275.xml"/><Relationship Id="rId4" Type="http://schemas.openxmlformats.org/officeDocument/2006/relationships/slideLayout" Target="../slideLayouts/slideLayout157.xml"/><Relationship Id="rId9" Type="http://schemas.openxmlformats.org/officeDocument/2006/relationships/vmlDrawing" Target="../drawings/vmlDrawing156.v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13" Type="http://schemas.openxmlformats.org/officeDocument/2006/relationships/image" Target="../media/image1.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56.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289.xml"/><Relationship Id="rId5" Type="http://schemas.openxmlformats.org/officeDocument/2006/relationships/slideLayout" Target="../slideLayouts/slideLayout165.xml"/><Relationship Id="rId10" Type="http://schemas.openxmlformats.org/officeDocument/2006/relationships/tags" Target="../tags/tag288.xml"/><Relationship Id="rId4" Type="http://schemas.openxmlformats.org/officeDocument/2006/relationships/slideLayout" Target="../slideLayouts/slideLayout164.xml"/><Relationship Id="rId9" Type="http://schemas.openxmlformats.org/officeDocument/2006/relationships/vmlDrawing" Target="../drawings/vmlDrawing164.v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34" Type="http://schemas.openxmlformats.org/officeDocument/2006/relationships/tags" Target="../tags/tag302.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tags" Target="../tags/tag301.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slideLayout" Target="../slideLayouts/slideLayout196.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vmlDrawing" Target="../drawings/vmlDrawing172.v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36" Type="http://schemas.openxmlformats.org/officeDocument/2006/relationships/image" Target="../media/image1.emf"/><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theme" Target="../theme/theme13.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oleObject" Target="../embeddings/oleObject164.bin"/><Relationship Id="rId8" Type="http://schemas.openxmlformats.org/officeDocument/2006/relationships/slideLayout" Target="../slideLayouts/slideLayout175.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 Type="http://schemas.openxmlformats.org/officeDocument/2006/relationships/slideLayout" Target="../slideLayouts/slideLayout200.xml"/><Relationship Id="rId21" Type="http://schemas.openxmlformats.org/officeDocument/2006/relationships/slideLayout" Target="../slideLayouts/slideLayout218.xml"/><Relationship Id="rId34" Type="http://schemas.openxmlformats.org/officeDocument/2006/relationships/tags" Target="../tags/tag357.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tags" Target="../tags/tag356.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slideLayout" Target="../slideLayouts/slideLayout226.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vmlDrawing" Target="../drawings/vmlDrawing202.v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image" Target="../media/image1.emf"/><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theme" Target="../theme/theme14.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oleObject" Target="../embeddings/oleObject164.bin"/><Relationship Id="rId8" Type="http://schemas.openxmlformats.org/officeDocument/2006/relationships/slideLayout" Target="../slideLayouts/slideLayout205.xml"/></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232.vml"/><Relationship Id="rId3" Type="http://schemas.openxmlformats.org/officeDocument/2006/relationships/slideLayout" Target="../slideLayouts/slideLayout230.xml"/><Relationship Id="rId7" Type="http://schemas.openxmlformats.org/officeDocument/2006/relationships/theme" Target="../theme/theme15.xml"/><Relationship Id="rId12" Type="http://schemas.openxmlformats.org/officeDocument/2006/relationships/image" Target="../media/image1.emf"/><Relationship Id="rId2" Type="http://schemas.openxmlformats.org/officeDocument/2006/relationships/slideLayout" Target="../slideLayouts/slideLayout229.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oleObject" Target="../embeddings/oleObject194.bin"/><Relationship Id="rId5" Type="http://schemas.openxmlformats.org/officeDocument/2006/relationships/slideLayout" Target="../slideLayouts/slideLayout232.xml"/><Relationship Id="rId10" Type="http://schemas.openxmlformats.org/officeDocument/2006/relationships/tags" Target="../tags/tag412.xml"/><Relationship Id="rId4" Type="http://schemas.openxmlformats.org/officeDocument/2006/relationships/slideLayout" Target="../slideLayouts/slideLayout231.xml"/><Relationship Id="rId9" Type="http://schemas.openxmlformats.org/officeDocument/2006/relationships/tags" Target="../tags/tag411.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26" Type="http://schemas.openxmlformats.org/officeDocument/2006/relationships/slideLayout" Target="../slideLayouts/slideLayout259.xml"/><Relationship Id="rId3" Type="http://schemas.openxmlformats.org/officeDocument/2006/relationships/slideLayout" Target="../slideLayouts/slideLayout236.xml"/><Relationship Id="rId21" Type="http://schemas.openxmlformats.org/officeDocument/2006/relationships/slideLayout" Target="../slideLayouts/slideLayout254.xml"/><Relationship Id="rId34" Type="http://schemas.openxmlformats.org/officeDocument/2006/relationships/tags" Target="../tags/tag423.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5" Type="http://schemas.openxmlformats.org/officeDocument/2006/relationships/slideLayout" Target="../slideLayouts/slideLayout258.xml"/><Relationship Id="rId33" Type="http://schemas.openxmlformats.org/officeDocument/2006/relationships/tags" Target="../tags/tag422.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0" Type="http://schemas.openxmlformats.org/officeDocument/2006/relationships/slideLayout" Target="../slideLayouts/slideLayout253.xml"/><Relationship Id="rId29" Type="http://schemas.openxmlformats.org/officeDocument/2006/relationships/slideLayout" Target="../slideLayouts/slideLayout262.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24" Type="http://schemas.openxmlformats.org/officeDocument/2006/relationships/slideLayout" Target="../slideLayouts/slideLayout257.xml"/><Relationship Id="rId32" Type="http://schemas.openxmlformats.org/officeDocument/2006/relationships/vmlDrawing" Target="../drawings/vmlDrawing239.vml"/><Relationship Id="rId5" Type="http://schemas.openxmlformats.org/officeDocument/2006/relationships/slideLayout" Target="../slideLayouts/slideLayout238.xml"/><Relationship Id="rId15" Type="http://schemas.openxmlformats.org/officeDocument/2006/relationships/slideLayout" Target="../slideLayouts/slideLayout248.xml"/><Relationship Id="rId23" Type="http://schemas.openxmlformats.org/officeDocument/2006/relationships/slideLayout" Target="../slideLayouts/slideLayout256.xml"/><Relationship Id="rId28" Type="http://schemas.openxmlformats.org/officeDocument/2006/relationships/slideLayout" Target="../slideLayouts/slideLayout261.xml"/><Relationship Id="rId36" Type="http://schemas.openxmlformats.org/officeDocument/2006/relationships/image" Target="../media/image1.emf"/><Relationship Id="rId10" Type="http://schemas.openxmlformats.org/officeDocument/2006/relationships/slideLayout" Target="../slideLayouts/slideLayout243.xml"/><Relationship Id="rId19" Type="http://schemas.openxmlformats.org/officeDocument/2006/relationships/slideLayout" Target="../slideLayouts/slideLayout252.xml"/><Relationship Id="rId31" Type="http://schemas.openxmlformats.org/officeDocument/2006/relationships/theme" Target="../theme/theme16.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 Id="rId22" Type="http://schemas.openxmlformats.org/officeDocument/2006/relationships/slideLayout" Target="../slideLayouts/slideLayout255.xml"/><Relationship Id="rId27" Type="http://schemas.openxmlformats.org/officeDocument/2006/relationships/slideLayout" Target="../slideLayouts/slideLayout260.xml"/><Relationship Id="rId30" Type="http://schemas.openxmlformats.org/officeDocument/2006/relationships/slideLayout" Target="../slideLayouts/slideLayout263.xml"/><Relationship Id="rId35" Type="http://schemas.openxmlformats.org/officeDocument/2006/relationships/oleObject" Target="../embeddings/oleObject201.bin"/><Relationship Id="rId8" Type="http://schemas.openxmlformats.org/officeDocument/2006/relationships/slideLayout" Target="../slideLayouts/slideLayout2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oleObject" Target="../embeddings/oleObject231.bin"/><Relationship Id="rId3" Type="http://schemas.openxmlformats.org/officeDocument/2006/relationships/slideLayout" Target="../slideLayouts/slideLayout266.xml"/><Relationship Id="rId7" Type="http://schemas.openxmlformats.org/officeDocument/2006/relationships/slideLayout" Target="../slideLayouts/slideLayout270.xml"/><Relationship Id="rId12" Type="http://schemas.openxmlformats.org/officeDocument/2006/relationships/tags" Target="../tags/tag478.xml"/><Relationship Id="rId2" Type="http://schemas.openxmlformats.org/officeDocument/2006/relationships/slideLayout" Target="../slideLayouts/slideLayout265.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tags" Target="../tags/tag477.xml"/><Relationship Id="rId5" Type="http://schemas.openxmlformats.org/officeDocument/2006/relationships/slideLayout" Target="../slideLayouts/slideLayout268.xml"/><Relationship Id="rId10" Type="http://schemas.openxmlformats.org/officeDocument/2006/relationships/vmlDrawing" Target="../drawings/vmlDrawing269.vml"/><Relationship Id="rId4" Type="http://schemas.openxmlformats.org/officeDocument/2006/relationships/slideLayout" Target="../slideLayouts/slideLayout267.xml"/><Relationship Id="rId9" Type="http://schemas.openxmlformats.org/officeDocument/2006/relationships/theme" Target="../theme/theme17.xml"/><Relationship Id="rId14"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oleObject" Target="../embeddings/oleObject240.bin"/><Relationship Id="rId3" Type="http://schemas.openxmlformats.org/officeDocument/2006/relationships/slideLayout" Target="../slideLayouts/slideLayout274.xml"/><Relationship Id="rId7" Type="http://schemas.openxmlformats.org/officeDocument/2006/relationships/slideLayout" Target="../slideLayouts/slideLayout278.xml"/><Relationship Id="rId12" Type="http://schemas.openxmlformats.org/officeDocument/2006/relationships/tags" Target="../tags/tag493.xml"/><Relationship Id="rId2" Type="http://schemas.openxmlformats.org/officeDocument/2006/relationships/slideLayout" Target="../slideLayouts/slideLayout273.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tags" Target="../tags/tag492.xml"/><Relationship Id="rId5" Type="http://schemas.openxmlformats.org/officeDocument/2006/relationships/slideLayout" Target="../slideLayouts/slideLayout276.xml"/><Relationship Id="rId10" Type="http://schemas.openxmlformats.org/officeDocument/2006/relationships/vmlDrawing" Target="../drawings/vmlDrawing278.vml"/><Relationship Id="rId4" Type="http://schemas.openxmlformats.org/officeDocument/2006/relationships/slideLayout" Target="../slideLayouts/slideLayout275.xml"/><Relationship Id="rId9" Type="http://schemas.openxmlformats.org/officeDocument/2006/relationships/theme" Target="../theme/theme18.xml"/><Relationship Id="rId14" Type="http://schemas.openxmlformats.org/officeDocument/2006/relationships/image" Target="../media/image1.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oleObject" Target="../embeddings/oleObject240.bin"/><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tags" Target="../tags/tag508.xml"/><Relationship Id="rId2" Type="http://schemas.openxmlformats.org/officeDocument/2006/relationships/slideLayout" Target="../slideLayouts/slideLayout281.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tags" Target="../tags/tag507.xml"/><Relationship Id="rId5" Type="http://schemas.openxmlformats.org/officeDocument/2006/relationships/slideLayout" Target="../slideLayouts/slideLayout284.xml"/><Relationship Id="rId10" Type="http://schemas.openxmlformats.org/officeDocument/2006/relationships/vmlDrawing" Target="../drawings/vmlDrawing287.vml"/><Relationship Id="rId4" Type="http://schemas.openxmlformats.org/officeDocument/2006/relationships/slideLayout" Target="../slideLayouts/slideLayout283.xml"/><Relationship Id="rId9" Type="http://schemas.openxmlformats.org/officeDocument/2006/relationships/theme" Target="../theme/theme1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21" Type="http://schemas.openxmlformats.org/officeDocument/2006/relationships/slideLayout" Target="../slideLayouts/slideLayout51.xml"/><Relationship Id="rId34" Type="http://schemas.openxmlformats.org/officeDocument/2006/relationships/vmlDrawing" Target="../drawings/vmlDrawing31.v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theme" Target="../theme/theme2.xml"/><Relationship Id="rId38" Type="http://schemas.openxmlformats.org/officeDocument/2006/relationships/image" Target="../media/image1.emf"/><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oleObject" Target="../embeddings/oleObject31.bin"/><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tags" Target="../tags/tag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tags" Target="../tags/tag57.xml"/><Relationship Id="rId8" Type="http://schemas.openxmlformats.org/officeDocument/2006/relationships/slideLayout" Target="../slideLayouts/slideLayout38.xml"/><Relationship Id="rId3"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ags" Target="../tags/tag116.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ags" Target="../tags/tag115.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vmlDrawing" Target="../drawings/vmlDrawing63.vml"/><Relationship Id="rId5" Type="http://schemas.openxmlformats.org/officeDocument/2006/relationships/slideLayout" Target="../slideLayouts/slideLayout67.xml"/><Relationship Id="rId15" Type="http://schemas.openxmlformats.org/officeDocument/2006/relationships/image" Target="../media/image1.emf"/><Relationship Id="rId10" Type="http://schemas.openxmlformats.org/officeDocument/2006/relationships/theme" Target="../theme/theme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oleObject" Target="../embeddings/oleObject63.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tags" Target="../tags/tag133.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tags" Target="../tags/tag132.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vmlDrawing" Target="../drawings/vmlDrawing73.v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image" Target="../media/image1.emf"/><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theme" Target="../theme/theme4.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oleObject" Target="../embeddings/oleObject73.bin"/><Relationship Id="rId8"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tags" Target="../tags/tag188.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tags" Target="../tags/tag187.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vmlDrawing" Target="../drawings/vmlDrawing103.vml"/><Relationship Id="rId5" Type="http://schemas.openxmlformats.org/officeDocument/2006/relationships/slideLayout" Target="../slideLayouts/slideLayout106.xml"/><Relationship Id="rId15" Type="http://schemas.openxmlformats.org/officeDocument/2006/relationships/image" Target="../media/image1.emf"/><Relationship Id="rId10" Type="http://schemas.openxmlformats.org/officeDocument/2006/relationships/theme" Target="../theme/theme5.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oleObject" Target="../embeddings/oleObject103.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tags" Target="../tags/tag203.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ags" Target="../tags/tag202.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vmlDrawing" Target="../drawings/vmlDrawing112.vml"/><Relationship Id="rId5" Type="http://schemas.openxmlformats.org/officeDocument/2006/relationships/slideLayout" Target="../slideLayouts/slideLayout115.xml"/><Relationship Id="rId15" Type="http://schemas.openxmlformats.org/officeDocument/2006/relationships/image" Target="../media/image1.emf"/><Relationship Id="rId10" Type="http://schemas.openxmlformats.org/officeDocument/2006/relationships/theme" Target="../theme/theme6.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oleObject" Target="../embeddings/oleObject112.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tags" Target="../tags/tag218.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ags" Target="../tags/tag217.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vmlDrawing" Target="../drawings/vmlDrawing121.vml"/><Relationship Id="rId5" Type="http://schemas.openxmlformats.org/officeDocument/2006/relationships/slideLayout" Target="../slideLayouts/slideLayout124.xml"/><Relationship Id="rId15" Type="http://schemas.openxmlformats.org/officeDocument/2006/relationships/image" Target="../media/image1.emf"/><Relationship Id="rId10" Type="http://schemas.openxmlformats.org/officeDocument/2006/relationships/theme" Target="../theme/theme7.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oleObject" Target="../embeddings/oleObject12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tags" Target="../tags/tag233.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tags" Target="../tags/tag232.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vmlDrawing" Target="../drawings/vmlDrawing130.vml"/><Relationship Id="rId5" Type="http://schemas.openxmlformats.org/officeDocument/2006/relationships/slideLayout" Target="../slideLayouts/slideLayout133.xml"/><Relationship Id="rId15" Type="http://schemas.openxmlformats.org/officeDocument/2006/relationships/image" Target="../media/image1.emf"/><Relationship Id="rId10" Type="http://schemas.openxmlformats.org/officeDocument/2006/relationships/theme" Target="../theme/theme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oleObject" Target="../embeddings/oleObject130.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tags" Target="../tags/tag248.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tags" Target="../tags/tag247.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vmlDrawing" Target="../drawings/vmlDrawing139.vml"/><Relationship Id="rId5" Type="http://schemas.openxmlformats.org/officeDocument/2006/relationships/slideLayout" Target="../slideLayouts/slideLayout142.xml"/><Relationship Id="rId15" Type="http://schemas.openxmlformats.org/officeDocument/2006/relationships/image" Target="../media/image1.emf"/><Relationship Id="rId10" Type="http://schemas.openxmlformats.org/officeDocument/2006/relationships/theme" Target="../theme/theme9.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oleObject" Target="../embeddings/oleObject13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33"/>
            </p:custDataLst>
            <p:extLst>
              <p:ext uri="{D42A27DB-BD31-4B8C-83A1-F6EECF244321}">
                <p14:modId xmlns:p14="http://schemas.microsoft.com/office/powerpoint/2010/main" val="2403479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0" name="think-cell Slide" r:id="rId35" imgW="470" imgH="469" progId="TCLayout.ActiveDocument.1">
                  <p:embed/>
                </p:oleObj>
              </mc:Choice>
              <mc:Fallback>
                <p:oleObj name="think-cell Slide" r:id="rId35"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3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4444123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 id="2147483666" r:id="rId5"/>
    <p:sldLayoutId id="2147483667" r:id="rId6"/>
    <p:sldLayoutId id="2147483673"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90" r:id="rId19"/>
    <p:sldLayoutId id="2147483691" r:id="rId20"/>
    <p:sldLayoutId id="2147483692" r:id="rId21"/>
    <p:sldLayoutId id="2147483696" r:id="rId22"/>
    <p:sldLayoutId id="2147483698" r:id="rId23"/>
    <p:sldLayoutId id="2147483699" r:id="rId24"/>
    <p:sldLayoutId id="2147483703" r:id="rId25"/>
    <p:sldLayoutId id="2147483704" r:id="rId26"/>
    <p:sldLayoutId id="2147483709" r:id="rId27"/>
    <p:sldLayoutId id="2147483712" r:id="rId28"/>
    <p:sldLayoutId id="2147483898" r:id="rId29"/>
    <p:sldLayoutId id="2147483771" r:id="rId3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p:custDataLst>
              <p:tags r:id="rId10"/>
            </p:custDataLst>
            <p:extLst>
              <p:ext uri="{D42A27DB-BD31-4B8C-83A1-F6EECF244321}">
                <p14:modId xmlns:p14="http://schemas.microsoft.com/office/powerpoint/2010/main" val="3978002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88" name="think-cell Slide" r:id="rId12" imgW="470" imgH="469" progId="TCLayout.ActiveDocument.1">
                  <p:embed/>
                </p:oleObj>
              </mc:Choice>
              <mc:Fallback>
                <p:oleObj name="think-cell Slide" r:id="rId12"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p:custDataLst>
              <p:tags r:id="rId11"/>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554695642"/>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1" r:id="rId5"/>
    <p:sldLayoutId id="2147484042" r:id="rId6"/>
    <p:sldLayoutId id="2147484043"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p:custDataLst>
              <p:tags r:id="rId10"/>
            </p:custDataLst>
            <p:extLst>
              <p:ext uri="{D42A27DB-BD31-4B8C-83A1-F6EECF244321}">
                <p14:modId xmlns:p14="http://schemas.microsoft.com/office/powerpoint/2010/main" val="87909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80" name="think-cell Slide" r:id="rId12" imgW="470" imgH="469" progId="TCLayout.ActiveDocument.1">
                  <p:embed/>
                </p:oleObj>
              </mc:Choice>
              <mc:Fallback>
                <p:oleObj name="think-cell Slide" r:id="rId12"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p:custDataLst>
              <p:tags r:id="rId11"/>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2355326327"/>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50" r:id="rId5"/>
    <p:sldLayoutId id="2147484051" r:id="rId6"/>
    <p:sldLayoutId id="2147484052"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p:custDataLst>
              <p:tags r:id="rId10"/>
            </p:custDataLst>
            <p:extLst>
              <p:ext uri="{D42A27DB-BD31-4B8C-83A1-F6EECF244321}">
                <p14:modId xmlns:p14="http://schemas.microsoft.com/office/powerpoint/2010/main" val="280403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72" name="think-cell Slide" r:id="rId12" imgW="470" imgH="469" progId="TCLayout.ActiveDocument.1">
                  <p:embed/>
                </p:oleObj>
              </mc:Choice>
              <mc:Fallback>
                <p:oleObj name="think-cell Slide" r:id="rId12"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p:custDataLst>
              <p:tags r:id="rId11"/>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2006618725"/>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 id="2147484057" r:id="rId4"/>
    <p:sldLayoutId id="2147484059" r:id="rId5"/>
    <p:sldLayoutId id="2147484060" r:id="rId6"/>
    <p:sldLayoutId id="2147484061"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33"/>
            </p:custDataLst>
            <p:extLst>
              <p:ext uri="{D42A27DB-BD31-4B8C-83A1-F6EECF244321}">
                <p14:modId xmlns:p14="http://schemas.microsoft.com/office/powerpoint/2010/main" val="3189309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64" name="think-cell Slide" r:id="rId35" imgW="470" imgH="469" progId="TCLayout.ActiveDocument.1">
                  <p:embed/>
                </p:oleObj>
              </mc:Choice>
              <mc:Fallback>
                <p:oleObj name="think-cell Slide" r:id="rId35"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3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130745435"/>
      </p:ext>
    </p:extLst>
  </p:cSld>
  <p:clrMap bg1="lt1" tx1="dk1" bg2="lt2" tx2="dk2" accent1="accent1" accent2="accent2" accent3="accent3" accent4="accent4" accent5="accent5" accent6="accent6" hlink="hlink" folHlink="folHlink"/>
  <p:sldLayoutIdLst>
    <p:sldLayoutId id="2147484063" r:id="rId1"/>
    <p:sldLayoutId id="2147484064"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 id="2147484074" r:id="rId12"/>
    <p:sldLayoutId id="2147484075" r:id="rId13"/>
    <p:sldLayoutId id="2147484076" r:id="rId14"/>
    <p:sldLayoutId id="2147484077" r:id="rId15"/>
    <p:sldLayoutId id="2147484078" r:id="rId16"/>
    <p:sldLayoutId id="2147484079" r:id="rId17"/>
    <p:sldLayoutId id="2147484080" r:id="rId18"/>
    <p:sldLayoutId id="2147484081" r:id="rId19"/>
    <p:sldLayoutId id="2147484082" r:id="rId20"/>
    <p:sldLayoutId id="2147484083" r:id="rId21"/>
    <p:sldLayoutId id="2147484084" r:id="rId22"/>
    <p:sldLayoutId id="2147484085" r:id="rId23"/>
    <p:sldLayoutId id="2147484086" r:id="rId24"/>
    <p:sldLayoutId id="2147484087" r:id="rId25"/>
    <p:sldLayoutId id="2147484088" r:id="rId26"/>
    <p:sldLayoutId id="2147484089" r:id="rId27"/>
    <p:sldLayoutId id="2147484090" r:id="rId28"/>
    <p:sldLayoutId id="2147484091" r:id="rId29"/>
    <p:sldLayoutId id="2147484092" r:id="rId3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33"/>
            </p:custDataLst>
            <p:extLst>
              <p:ext uri="{D42A27DB-BD31-4B8C-83A1-F6EECF244321}">
                <p14:modId xmlns:p14="http://schemas.microsoft.com/office/powerpoint/2010/main" val="1687828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84" name="think-cell Slide" r:id="rId35" imgW="470" imgH="469" progId="TCLayout.ActiveDocument.1">
                  <p:embed/>
                </p:oleObj>
              </mc:Choice>
              <mc:Fallback>
                <p:oleObj name="think-cell Slide" r:id="rId35"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3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1101942101"/>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 id="2147484113" r:id="rId20"/>
    <p:sldLayoutId id="2147484114" r:id="rId21"/>
    <p:sldLayoutId id="2147484115" r:id="rId22"/>
    <p:sldLayoutId id="2147484116" r:id="rId23"/>
    <p:sldLayoutId id="2147484117" r:id="rId24"/>
    <p:sldLayoutId id="2147484118" r:id="rId25"/>
    <p:sldLayoutId id="2147484119" r:id="rId26"/>
    <p:sldLayoutId id="2147484120" r:id="rId27"/>
    <p:sldLayoutId id="2147484121" r:id="rId28"/>
    <p:sldLayoutId id="2147484122" r:id="rId29"/>
    <p:sldLayoutId id="2147484123" r:id="rId3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604" name="think-cell Slide" r:id="rId11" imgW="470" imgH="469" progId="TCLayout.ActiveDocument.1">
                  <p:embed/>
                </p:oleObj>
              </mc:Choice>
              <mc:Fallback>
                <p:oleObj name="think-cell Slide" r:id="rId11"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10"/>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68D2E"/>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68D2E"/>
              </a:solidFill>
              <a:effectLst/>
              <a:uLnTx/>
              <a:uFillTx/>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DIN Next LT Arabic Light" panose="020B0303020203050203" pitchFamily="34" charset="-78"/>
                <a:ea typeface="+mn-ea"/>
                <a:cs typeface="DIN Next LT Arabic Light" panose="020B0303020203050203" pitchFamily="34" charset="-78"/>
              </a:rPr>
              <a:t>NCAI | Talent Development</a:t>
            </a:r>
          </a:p>
        </p:txBody>
      </p:sp>
    </p:spTree>
    <p:extLst>
      <p:ext uri="{BB962C8B-B14F-4D97-AF65-F5344CB8AC3E}">
        <p14:creationId xmlns:p14="http://schemas.microsoft.com/office/powerpoint/2010/main" val="1381078692"/>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30" r:id="rId5"/>
    <p:sldLayoutId id="2147484132"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33"/>
            </p:custDataLst>
            <p:extLst>
              <p:ext uri="{D42A27DB-BD31-4B8C-83A1-F6EECF244321}">
                <p14:modId xmlns:p14="http://schemas.microsoft.com/office/powerpoint/2010/main" val="315391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72" name="think-cell Slide" r:id="rId35" imgW="470" imgH="469" progId="TCLayout.ActiveDocument.1">
                  <p:embed/>
                </p:oleObj>
              </mc:Choice>
              <mc:Fallback>
                <p:oleObj name="think-cell Slide" r:id="rId35"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3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08979017"/>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6" r:id="rId12"/>
    <p:sldLayoutId id="2147484147" r:id="rId13"/>
    <p:sldLayoutId id="2147484148" r:id="rId14"/>
    <p:sldLayoutId id="2147484149" r:id="rId15"/>
    <p:sldLayoutId id="2147484150" r:id="rId16"/>
    <p:sldLayoutId id="2147484151" r:id="rId17"/>
    <p:sldLayoutId id="2147484152" r:id="rId18"/>
    <p:sldLayoutId id="2147484153" r:id="rId19"/>
    <p:sldLayoutId id="2147484154" r:id="rId20"/>
    <p:sldLayoutId id="2147484155" r:id="rId21"/>
    <p:sldLayoutId id="2147484156" r:id="rId22"/>
    <p:sldLayoutId id="2147484157" r:id="rId23"/>
    <p:sldLayoutId id="2147484158" r:id="rId24"/>
    <p:sldLayoutId id="2147484159" r:id="rId25"/>
    <p:sldLayoutId id="2147484160" r:id="rId26"/>
    <p:sldLayoutId id="2147484161" r:id="rId27"/>
    <p:sldLayoutId id="2147484162" r:id="rId28"/>
    <p:sldLayoutId id="2147484163" r:id="rId29"/>
    <p:sldLayoutId id="2147484164" r:id="rId3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11"/>
            </p:custDataLst>
            <p:extLst>
              <p:ext uri="{D42A27DB-BD31-4B8C-83A1-F6EECF244321}">
                <p14:modId xmlns:p14="http://schemas.microsoft.com/office/powerpoint/2010/main" val="2501452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492" name="think-cell Slide" r:id="rId13" imgW="470" imgH="469" progId="TCLayout.ActiveDocument.1">
                  <p:embed/>
                </p:oleObj>
              </mc:Choice>
              <mc:Fallback>
                <p:oleObj name="think-cell Slide" r:id="rId13"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1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3526461825"/>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168" r:id="rId3"/>
    <p:sldLayoutId id="2147484169" r:id="rId4"/>
    <p:sldLayoutId id="2147484171" r:id="rId5"/>
    <p:sldLayoutId id="2147484172" r:id="rId6"/>
    <p:sldLayoutId id="2147484173" r:id="rId7"/>
    <p:sldLayoutId id="2147484174"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11"/>
            </p:custDataLst>
            <p:extLst>
              <p:ext uri="{D42A27DB-BD31-4B8C-83A1-F6EECF244321}">
                <p14:modId xmlns:p14="http://schemas.microsoft.com/office/powerpoint/2010/main" val="1590532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732" name="think-cell Slide" r:id="rId13" imgW="470" imgH="469" progId="TCLayout.ActiveDocument.1">
                  <p:embed/>
                </p:oleObj>
              </mc:Choice>
              <mc:Fallback>
                <p:oleObj name="think-cell Slide" r:id="rId13"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1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3725557699"/>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1" r:id="rId5"/>
    <p:sldLayoutId id="2147484182" r:id="rId6"/>
    <p:sldLayoutId id="2147484183" r:id="rId7"/>
    <p:sldLayoutId id="2147484184"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11"/>
            </p:custDataLst>
            <p:extLst>
              <p:ext uri="{D42A27DB-BD31-4B8C-83A1-F6EECF244321}">
                <p14:modId xmlns:p14="http://schemas.microsoft.com/office/powerpoint/2010/main" val="38472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72" name="think-cell Slide" r:id="rId13" imgW="470" imgH="469" progId="TCLayout.ActiveDocument.1">
                  <p:embed/>
                </p:oleObj>
              </mc:Choice>
              <mc:Fallback>
                <p:oleObj name="think-cell Slide" r:id="rId13"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1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2568102002"/>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1" r:id="rId5"/>
    <p:sldLayoutId id="2147484192" r:id="rId6"/>
    <p:sldLayoutId id="2147484193" r:id="rId7"/>
    <p:sldLayoutId id="2147484194"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35"/>
            </p:custDataLst>
            <p:extLst>
              <p:ext uri="{D42A27DB-BD31-4B8C-83A1-F6EECF244321}">
                <p14:modId xmlns:p14="http://schemas.microsoft.com/office/powerpoint/2010/main" val="1489280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80" name="think-cell Slide" r:id="rId37" imgW="470" imgH="469" progId="TCLayout.ActiveDocument.1">
                  <p:embed/>
                </p:oleObj>
              </mc:Choice>
              <mc:Fallback>
                <p:oleObj name="think-cell Slide" r:id="rId37"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36"/>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r>
              <a:rPr lang="en-US"/>
              <a:t>NCAI | Activation Programme</a:t>
            </a:r>
          </a:p>
        </p:txBody>
      </p:sp>
    </p:spTree>
    <p:extLst>
      <p:ext uri="{BB962C8B-B14F-4D97-AF65-F5344CB8AC3E}">
        <p14:creationId xmlns:p14="http://schemas.microsoft.com/office/powerpoint/2010/main" val="2494697664"/>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6" r:id="rId15"/>
    <p:sldLayoutId id="2147483917" r:id="rId16"/>
    <p:sldLayoutId id="2147483918" r:id="rId17"/>
    <p:sldLayoutId id="2147483919" r:id="rId18"/>
    <p:sldLayoutId id="2147483920" r:id="rId19"/>
    <p:sldLayoutId id="2147483921" r:id="rId20"/>
    <p:sldLayoutId id="2147483922" r:id="rId21"/>
    <p:sldLayoutId id="2147483923" r:id="rId22"/>
    <p:sldLayoutId id="2147483924" r:id="rId23"/>
    <p:sldLayoutId id="2147483925" r:id="rId24"/>
    <p:sldLayoutId id="2147483926" r:id="rId25"/>
    <p:sldLayoutId id="2147483927" r:id="rId26"/>
    <p:sldLayoutId id="2147483928" r:id="rId27"/>
    <p:sldLayoutId id="2147483929" r:id="rId28"/>
    <p:sldLayoutId id="2147483930" r:id="rId29"/>
    <p:sldLayoutId id="2147483931" r:id="rId30"/>
    <p:sldLayoutId id="2147483932" r:id="rId31"/>
    <p:sldLayoutId id="2147483934" r:id="rId3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12"/>
            </p:custDataLst>
            <p:extLst>
              <p:ext uri="{D42A27DB-BD31-4B8C-83A1-F6EECF244321}">
                <p14:modId xmlns:p14="http://schemas.microsoft.com/office/powerpoint/2010/main" val="3402919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48" name="think-cell Slide" r:id="rId14" imgW="470" imgH="469" progId="TCLayout.ActiveDocument.1">
                  <p:embed/>
                </p:oleObj>
              </mc:Choice>
              <mc:Fallback>
                <p:oleObj name="think-cell Slide" r:id="rId14"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1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326091108"/>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3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88" name="think-cell Slide" r:id="rId35" imgW="470" imgH="469" progId="TCLayout.ActiveDocument.1">
                  <p:embed/>
                </p:oleObj>
              </mc:Choice>
              <mc:Fallback>
                <p:oleObj name="think-cell Slide" r:id="rId35"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34"/>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68D2E"/>
                </a:solidFill>
                <a:effectLst/>
                <a:uLnTx/>
                <a:uFillTx/>
                <a:latin typeface="Arial" panose="020B0604020202020204" pitchFamily="34" charset="0"/>
                <a:ea typeface="+mn-ea"/>
                <a:cs typeface="Arial" panose="020B0604020202020204" pitchFamily="34" charset="0"/>
              </a:rPr>
              <a:t>NCAI | Activation Programme</a:t>
            </a:r>
          </a:p>
        </p:txBody>
      </p:sp>
    </p:spTree>
    <p:extLst>
      <p:ext uri="{BB962C8B-B14F-4D97-AF65-F5344CB8AC3E}">
        <p14:creationId xmlns:p14="http://schemas.microsoft.com/office/powerpoint/2010/main" val="1188621570"/>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7" r:id="rId22"/>
    <p:sldLayoutId id="2147483968" r:id="rId23"/>
    <p:sldLayoutId id="2147483969" r:id="rId24"/>
    <p:sldLayoutId id="2147483970" r:id="rId25"/>
    <p:sldLayoutId id="2147483971" r:id="rId26"/>
    <p:sldLayoutId id="2147483972" r:id="rId27"/>
    <p:sldLayoutId id="2147483973" r:id="rId28"/>
    <p:sldLayoutId id="2147483974" r:id="rId29"/>
    <p:sldLayoutId id="2147483975" r:id="rId3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12"/>
            </p:custDataLst>
            <p:extLst>
              <p:ext uri="{D42A27DB-BD31-4B8C-83A1-F6EECF244321}">
                <p14:modId xmlns:p14="http://schemas.microsoft.com/office/powerpoint/2010/main" val="1163140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08" name="think-cell Slide" r:id="rId14" imgW="470" imgH="469" progId="TCLayout.ActiveDocument.1">
                  <p:embed/>
                </p:oleObj>
              </mc:Choice>
              <mc:Fallback>
                <p:oleObj name="think-cell Slide" r:id="rId14"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1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1443543414"/>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6" r:id="rId5"/>
    <p:sldLayoutId id="2147483987" r:id="rId6"/>
    <p:sldLayoutId id="2147483988" r:id="rId7"/>
    <p:sldLayoutId id="2147483989" r:id="rId8"/>
    <p:sldLayoutId id="2147483990"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12"/>
            </p:custDataLst>
            <p:extLst>
              <p:ext uri="{D42A27DB-BD31-4B8C-83A1-F6EECF244321}">
                <p14:modId xmlns:p14="http://schemas.microsoft.com/office/powerpoint/2010/main" val="402517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24" name="think-cell Slide" r:id="rId14" imgW="470" imgH="469" progId="TCLayout.ActiveDocument.1">
                  <p:embed/>
                </p:oleObj>
              </mc:Choice>
              <mc:Fallback>
                <p:oleObj name="think-cell Slide" r:id="rId14"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1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3979182249"/>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7" r:id="rId5"/>
    <p:sldLayoutId id="2147483998" r:id="rId6"/>
    <p:sldLayoutId id="2147483999" r:id="rId7"/>
    <p:sldLayoutId id="2147484000" r:id="rId8"/>
    <p:sldLayoutId id="2147484001"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12"/>
            </p:custDataLst>
            <p:extLst>
              <p:ext uri="{D42A27DB-BD31-4B8C-83A1-F6EECF244321}">
                <p14:modId xmlns:p14="http://schemas.microsoft.com/office/powerpoint/2010/main" val="2620460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40" name="think-cell Slide" r:id="rId14" imgW="470" imgH="469" progId="TCLayout.ActiveDocument.1">
                  <p:embed/>
                </p:oleObj>
              </mc:Choice>
              <mc:Fallback>
                <p:oleObj name="think-cell Slide" r:id="rId14"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1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2268336306"/>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8" r:id="rId5"/>
    <p:sldLayoutId id="2147484009" r:id="rId6"/>
    <p:sldLayoutId id="2147484010" r:id="rId7"/>
    <p:sldLayoutId id="2147484011" r:id="rId8"/>
    <p:sldLayoutId id="2147484012"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12"/>
            </p:custDataLst>
            <p:extLst>
              <p:ext uri="{D42A27DB-BD31-4B8C-83A1-F6EECF244321}">
                <p14:modId xmlns:p14="http://schemas.microsoft.com/office/powerpoint/2010/main" val="3041845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6" name="think-cell Slide" r:id="rId14" imgW="470" imgH="469" progId="TCLayout.ActiveDocument.1">
                  <p:embed/>
                </p:oleObj>
              </mc:Choice>
              <mc:Fallback>
                <p:oleObj name="think-cell Slide" r:id="rId14"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1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1570873675"/>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9" r:id="rId5"/>
    <p:sldLayoutId id="2147484020" r:id="rId6"/>
    <p:sldLayoutId id="2147484021" r:id="rId7"/>
    <p:sldLayoutId id="2147484022" r:id="rId8"/>
    <p:sldLayoutId id="2147484023"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524663-C587-4189-AD86-6EC76DA5745B}"/>
              </a:ext>
            </a:extLst>
          </p:cNvPr>
          <p:cNvGraphicFramePr>
            <a:graphicFrameLocks noChangeAspect="1"/>
          </p:cNvGraphicFramePr>
          <p:nvPr userDrawn="1">
            <p:custDataLst>
              <p:tags r:id="rId12"/>
            </p:custDataLst>
            <p:extLst>
              <p:ext uri="{D42A27DB-BD31-4B8C-83A1-F6EECF244321}">
                <p14:modId xmlns:p14="http://schemas.microsoft.com/office/powerpoint/2010/main" val="1096089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72" name="think-cell Slide" r:id="rId14" imgW="470" imgH="469" progId="TCLayout.ActiveDocument.1">
                  <p:embed/>
                </p:oleObj>
              </mc:Choice>
              <mc:Fallback>
                <p:oleObj name="think-cell Slide" r:id="rId14" imgW="470" imgH="469" progId="TCLayout.ActiveDocument.1">
                  <p:embed/>
                  <p:pic>
                    <p:nvPicPr>
                      <p:cNvPr id="3" name="Object 2" hidden="1">
                        <a:extLst>
                          <a:ext uri="{FF2B5EF4-FFF2-40B4-BE49-F238E27FC236}">
                            <a16:creationId xmlns:a16="http://schemas.microsoft.com/office/drawing/2014/main" id="{14524663-C587-4189-AD86-6EC76DA5745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9F987-49E8-48D3-AD88-0283101A963A}"/>
              </a:ext>
            </a:extLst>
          </p:cNvPr>
          <p:cNvSpPr/>
          <p:nvPr userDrawn="1">
            <p:custDataLst>
              <p:tags r:id="rId1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DIN Next LT Arabic Light" panose="020B0303020203050203" pitchFamily="34" charset="-78"/>
              <a:ea typeface="+mj-ea"/>
              <a:cs typeface="DIN Next LT Arabic Light" panose="020B0303020203050203" pitchFamily="34" charset="-78"/>
              <a:sym typeface="Arial" panose="020B0604020202020204" pitchFamily="34" charset="0"/>
            </a:endParaRPr>
          </a:p>
        </p:txBody>
      </p:sp>
      <p:sp>
        <p:nvSpPr>
          <p:cNvPr id="11" name="Date Placeholder 3"/>
          <p:cNvSpPr>
            <a:spLocks noGrp="1"/>
          </p:cNvSpPr>
          <p:nvPr>
            <p:ph type="dt" sz="half" idx="2"/>
          </p:nvPr>
        </p:nvSpPr>
        <p:spPr>
          <a:xfrm>
            <a:off x="9677400" y="6461969"/>
            <a:ext cx="1482051" cy="153888"/>
          </a:xfrm>
          <a:prstGeom prst="rect">
            <a:avLst/>
          </a:prstGeom>
        </p:spPr>
        <p:txBody>
          <a:bodyPr vert="horz" wrap="square" lIns="0" tIns="0" rIns="0" bIns="0" rtlCol="0" anchor="b">
            <a:spAutoFit/>
          </a:bodyPr>
          <a:lstStyle>
            <a:lvl1pPr algn="r">
              <a:defRPr sz="10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stStyle>
          <a:p>
            <a:endParaRPr lang="en-US"/>
          </a:p>
        </p:txBody>
      </p:sp>
      <p:sp>
        <p:nvSpPr>
          <p:cNvPr id="9" name="Title Placeholder 1"/>
          <p:cNvSpPr>
            <a:spLocks noGrp="1"/>
          </p:cNvSpPr>
          <p:nvPr>
            <p:ph type="title"/>
          </p:nvPr>
        </p:nvSpPr>
        <p:spPr>
          <a:xfrm>
            <a:off x="695325" y="622800"/>
            <a:ext cx="10764837"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95325" y="1620000"/>
            <a:ext cx="10764837" cy="461728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79161" y="646196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endParaRPr>
          </a:p>
        </p:txBody>
      </p:sp>
      <p:sp>
        <p:nvSpPr>
          <p:cNvPr id="10" name="Footer Placeholder 4">
            <a:extLst>
              <a:ext uri="{FF2B5EF4-FFF2-40B4-BE49-F238E27FC236}">
                <a16:creationId xmlns:a16="http://schemas.microsoft.com/office/drawing/2014/main" id="{51F60E43-E0F5-4B13-9E76-DF8455653A2E}"/>
              </a:ext>
            </a:extLst>
          </p:cNvPr>
          <p:cNvSpPr>
            <a:spLocks noGrp="1"/>
          </p:cNvSpPr>
          <p:nvPr>
            <p:ph type="ftr" sz="quarter" idx="3"/>
          </p:nvPr>
        </p:nvSpPr>
        <p:spPr>
          <a:xfrm>
            <a:off x="695325" y="6385025"/>
            <a:ext cx="4114800" cy="153888"/>
          </a:xfrm>
          <a:prstGeom prst="rect">
            <a:avLst/>
          </a:prstGeom>
        </p:spPr>
        <p:txBody>
          <a:bodyPr vert="horz" wrap="square" lIns="0" tIns="0" rIns="0" bIns="0" rtlCol="0" anchor="b">
            <a:spAutoFit/>
          </a:bodyPr>
          <a:lstStyle>
            <a:lvl1pPr algn="l">
              <a:defRPr lang="en-US" sz="1000">
                <a:solidFill>
                  <a:schemeClr val="tx2"/>
                </a:solidFill>
                <a:latin typeface="DIN Next LT Arabic Light" panose="020B0303020203050203" pitchFamily="34" charset="-78"/>
                <a:cs typeface="DIN Next LT Arabic Light" panose="020B0303020203050203" pitchFamily="34" charset="-78"/>
              </a:defRPr>
            </a:lvl1pPr>
          </a:lstStyle>
          <a:p>
            <a:r>
              <a:rPr lang="en-US"/>
              <a:t>NCAI | Talent Development</a:t>
            </a:r>
          </a:p>
        </p:txBody>
      </p:sp>
    </p:spTree>
    <p:extLst>
      <p:ext uri="{BB962C8B-B14F-4D97-AF65-F5344CB8AC3E}">
        <p14:creationId xmlns:p14="http://schemas.microsoft.com/office/powerpoint/2010/main" val="1140919482"/>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30" r:id="rId5"/>
    <p:sldLayoutId id="2147484031" r:id="rId6"/>
    <p:sldLayoutId id="2147484032" r:id="rId7"/>
    <p:sldLayoutId id="2147484033" r:id="rId8"/>
    <p:sldLayoutId id="2147484034"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1"/>
          </a:solidFill>
          <a:latin typeface="DIN Next LT Arabic Light" panose="020B0303020203050203" pitchFamily="34" charset="-78"/>
          <a:ea typeface="+mj-ea"/>
          <a:cs typeface="DIN Next LT Arabic Light" panose="020B0303020203050203" pitchFamily="34" charset="-78"/>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accent1"/>
        </a:buClr>
        <a:buFont typeface="Arial" panose="020B0604020202020204" pitchFamily="34" charset="0"/>
        <a:buChar char="​"/>
        <a:defRPr lang="en-US" sz="1600" kern="120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lang="en-US" sz="1600" b="1"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8C8C8C"/>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accent1"/>
        </a:buClr>
        <a:buFont typeface="Arial" panose="020B0604020202020204" pitchFamily="34" charset="0"/>
        <a:buChar char="​"/>
        <a:defRPr lang="en-US" sz="4400" kern="1200" baseline="0" smtClean="0">
          <a:solidFill>
            <a:schemeClr val="tx1"/>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accent1"/>
        </a:buClr>
        <a:buFont typeface="Arial" panose="020B0604020202020204" pitchFamily="34" charset="0"/>
        <a:buChar char="​"/>
        <a:defRPr lang="en-US" sz="5400" kern="1200" baseline="0" smtClean="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accent1"/>
        </a:buClr>
        <a:buFont typeface="Arial" panose="020B0604020202020204" pitchFamily="34" charset="0"/>
        <a:buChar char="​"/>
        <a:defRPr lang="en-US" sz="2400" kern="1200" baseline="0" dirty="0">
          <a:solidFill>
            <a:schemeClr val="tx2"/>
          </a:solidFill>
          <a:latin typeface="DIN Next LT Arabic Light" panose="020B0303020203050203" pitchFamily="34" charset="-78"/>
          <a:ea typeface="+mn-ea"/>
          <a:cs typeface="DIN Next LT Arabic Light" panose="020B0303020203050203" pitchFamily="34" charset="-78"/>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23.xml"/><Relationship Id="rId7" Type="http://schemas.openxmlformats.org/officeDocument/2006/relationships/image" Target="../media/image7.emf"/><Relationship Id="rId2" Type="http://schemas.openxmlformats.org/officeDocument/2006/relationships/tags" Target="../tags/tag522.xml"/><Relationship Id="rId1" Type="http://schemas.openxmlformats.org/officeDocument/2006/relationships/vmlDrawing" Target="../drawings/vmlDrawing296.vml"/><Relationship Id="rId6" Type="http://schemas.openxmlformats.org/officeDocument/2006/relationships/oleObject" Target="../embeddings/oleObject249.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7.xml"/><Relationship Id="rId1" Type="http://schemas.openxmlformats.org/officeDocument/2006/relationships/themeOverride" Target="../theme/themeOverride111.xml"/><Relationship Id="rId5" Type="http://schemas.openxmlformats.org/officeDocument/2006/relationships/hyperlink" Target="https://github.com/israksu/Hijja2" TargetMode="External"/><Relationship Id="rId4" Type="http://schemas.openxmlformats.org/officeDocument/2006/relationships/image" Target="../media/image17.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7.xml"/><Relationship Id="rId1" Type="http://schemas.openxmlformats.org/officeDocument/2006/relationships/themeOverride" Target="../theme/themeOverride112.xml"/><Relationship Id="rId5" Type="http://schemas.openxmlformats.org/officeDocument/2006/relationships/hyperlink" Target="https://sourceforge.net/projects/tashkeela/" TargetMode="External"/><Relationship Id="rId4" Type="http://schemas.openxmlformats.org/officeDocument/2006/relationships/image" Target="../media/image17.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7.xml"/><Relationship Id="rId1" Type="http://schemas.openxmlformats.org/officeDocument/2006/relationships/themeOverride" Target="../theme/themeOverride113.xml"/><Relationship Id="rId5" Type="http://schemas.openxmlformats.org/officeDocument/2006/relationships/hyperlink" Target="https://docs.google.com/spreadsheets/d/1W_D0HY2vBLDVuxPd7N7CQHm3VyUOZgmg/edit?usp=sharing&amp;ouid=104962839787494613994&amp;rtpof=true&amp;sd=true" TargetMode="External"/><Relationship Id="rId4" Type="http://schemas.openxmlformats.org/officeDocument/2006/relationships/image" Target="../media/image17.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7.xml"/><Relationship Id="rId1" Type="http://schemas.openxmlformats.org/officeDocument/2006/relationships/themeOverride" Target="../theme/themeOverride114.xml"/><Relationship Id="rId5" Type="http://schemas.openxmlformats.org/officeDocument/2006/relationships/hyperlink" Target="https://docs.google.com/spreadsheets/d/1A4kLcDDnwgk4BIkNwFEE6Y-UIx2pvkoO/edit?usp=sharing&amp;ouid=104962839787494613994&amp;rtpof=true&amp;sd=true" TargetMode="External"/><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582170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212" name="think-cell Slide" r:id="rId6" imgW="352" imgH="355" progId="TCLayout.ActiveDocument.1">
                  <p:embed/>
                </p:oleObj>
              </mc:Choice>
              <mc:Fallback>
                <p:oleObj name="think-cell Slide" r:id="rId6" imgW="352" imgH="355"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70F738D-1244-482F-83D8-EAA2D6C8CDCA}"/>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itle 4"/>
          <p:cNvSpPr>
            <a:spLocks noGrp="1"/>
          </p:cNvSpPr>
          <p:nvPr>
            <p:ph type="ctrTitle"/>
          </p:nvPr>
        </p:nvSpPr>
        <p:spPr>
          <a:xfrm>
            <a:off x="561252" y="2540015"/>
            <a:ext cx="11151024" cy="863751"/>
          </a:xfrm>
        </p:spPr>
        <p:txBody>
          <a:bodyPr vert="horz"/>
          <a:lstStyle/>
          <a:p>
            <a:r>
              <a:rPr lang="en-US" b="1" dirty="0">
                <a:latin typeface="DIN Next LT Arabic Medium" panose="020B0603020203050203" pitchFamily="34" charset="-78"/>
                <a:cs typeface="DIN Next LT Arabic" panose="020B0503020203050203" pitchFamily="34" charset="-78"/>
              </a:rPr>
              <a:t>Capstone Projects </a:t>
            </a:r>
            <a:endParaRPr lang="en-US" sz="4400" b="1" dirty="0">
              <a:solidFill>
                <a:schemeClr val="bg1"/>
              </a:solidFill>
              <a:latin typeface="DIN Next LT Arabic Medium" panose="020B0603020203050203" pitchFamily="34" charset="-78"/>
              <a:cs typeface="DIN Next LT Arabic Medium" panose="020B0603020203050203" pitchFamily="34" charset="-78"/>
            </a:endParaRPr>
          </a:p>
        </p:txBody>
      </p:sp>
      <p:sp>
        <p:nvSpPr>
          <p:cNvPr id="4" name="Text Placeholder 3">
            <a:extLst>
              <a:ext uri="{FF2B5EF4-FFF2-40B4-BE49-F238E27FC236}">
                <a16:creationId xmlns:a16="http://schemas.microsoft.com/office/drawing/2014/main" id="{451CA7B3-BEA6-48FB-A611-511CAB45C42C}"/>
              </a:ext>
            </a:extLst>
          </p:cNvPr>
          <p:cNvSpPr>
            <a:spLocks noGrp="1"/>
          </p:cNvSpPr>
          <p:nvPr>
            <p:ph type="body" sz="quarter" idx="11"/>
          </p:nvPr>
        </p:nvSpPr>
        <p:spPr/>
        <p:txBody>
          <a:bodyPr/>
          <a:lstStyle/>
          <a:p>
            <a:endParaRPr lang="en-GB" dirty="0"/>
          </a:p>
        </p:txBody>
      </p:sp>
    </p:spTree>
    <p:extLst>
      <p:ext uri="{BB962C8B-B14F-4D97-AF65-F5344CB8AC3E}">
        <p14:creationId xmlns:p14="http://schemas.microsoft.com/office/powerpoint/2010/main" val="50240383"/>
      </p:ext>
    </p:extLst>
  </p:cSld>
  <p:clrMapOvr>
    <a:masterClrMapping/>
  </p:clrMapOvr>
  <mc:AlternateContent xmlns:mc="http://schemas.openxmlformats.org/markup-compatibility/2006" xmlns:p14="http://schemas.microsoft.com/office/powerpoint/2010/main">
    <mc:Choice Requires="p14">
      <p:transition p14:dur="250" advTm="1940">
        <p:fade/>
      </p:transition>
    </mc:Choice>
    <mc:Fallback xmlns="">
      <p:transition advTm="194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73000">
              <a:schemeClr val="accent3">
                <a:lumMod val="75000"/>
              </a:schemeClr>
            </a:gs>
            <a:gs pos="0">
              <a:srgbClr val="FF6933"/>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C58F5B-35D2-EC44-BD13-38A164110FF9}"/>
              </a:ext>
            </a:extLst>
          </p:cNvPr>
          <p:cNvPicPr>
            <a:picLocks noChangeAspect="1"/>
          </p:cNvPicPr>
          <p:nvPr/>
        </p:nvPicPr>
        <p:blipFill>
          <a:blip r:embed="rId4">
            <a:alphaModFix amt="20000"/>
            <a:extLst>
              <a:ext uri="{28A0092B-C50C-407E-A947-70E740481C1C}">
                <a14:useLocalDpi xmlns:a14="http://schemas.microsoft.com/office/drawing/2010/main"/>
              </a:ext>
            </a:extLst>
          </a:blip>
          <a:stretch>
            <a:fillRect/>
          </a:stretch>
        </p:blipFill>
        <p:spPr>
          <a:xfrm>
            <a:off x="-1" y="32362"/>
            <a:ext cx="12192000" cy="6854092"/>
          </a:xfrm>
          <a:prstGeom prst="rect">
            <a:avLst/>
          </a:prstGeom>
        </p:spPr>
      </p:pic>
      <p:grpSp>
        <p:nvGrpSpPr>
          <p:cNvPr id="20" name="Group 19">
            <a:extLst>
              <a:ext uri="{FF2B5EF4-FFF2-40B4-BE49-F238E27FC236}">
                <a16:creationId xmlns:a16="http://schemas.microsoft.com/office/drawing/2014/main" id="{E1C9A82A-50CD-4DB5-A129-4F8251A98102}"/>
              </a:ext>
            </a:extLst>
          </p:cNvPr>
          <p:cNvGrpSpPr/>
          <p:nvPr/>
        </p:nvGrpSpPr>
        <p:grpSpPr>
          <a:xfrm>
            <a:off x="11390718" y="231876"/>
            <a:ext cx="381602" cy="801026"/>
            <a:chOff x="9189779" y="292930"/>
            <a:chExt cx="365473" cy="767170"/>
          </a:xfrm>
        </p:grpSpPr>
        <p:sp>
          <p:nvSpPr>
            <p:cNvPr id="21" name="Freeform 51">
              <a:extLst>
                <a:ext uri="{FF2B5EF4-FFF2-40B4-BE49-F238E27FC236}">
                  <a16:creationId xmlns:a16="http://schemas.microsoft.com/office/drawing/2014/main" id="{1E9E9BC5-07BC-49AD-B9AB-6F068E1B8764}"/>
                </a:ext>
              </a:extLst>
            </p:cNvPr>
            <p:cNvSpPr>
              <a:spLocks/>
            </p:cNvSpPr>
            <p:nvPr/>
          </p:nvSpPr>
          <p:spPr bwMode="auto">
            <a:xfrm>
              <a:off x="9189779" y="292930"/>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DB249"/>
                </a:gs>
                <a:gs pos="100000">
                  <a:srgbClr val="FF6933"/>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DIN Next LT Arabic"/>
                <a:ea typeface="+mn-ea"/>
                <a:cs typeface="DIN Next LT Arabic" panose="020B0503020203050203" pitchFamily="34" charset="-78"/>
                <a:sym typeface="Arial" panose="020B0604020202020204" pitchFamily="34" charset="0"/>
              </a:endParaRPr>
            </a:p>
          </p:txBody>
        </p:sp>
        <p:sp>
          <p:nvSpPr>
            <p:cNvPr id="22" name="Freeform 52">
              <a:extLst>
                <a:ext uri="{FF2B5EF4-FFF2-40B4-BE49-F238E27FC236}">
                  <a16:creationId xmlns:a16="http://schemas.microsoft.com/office/drawing/2014/main" id="{3713A0D1-7CBD-4D95-BB3D-05C63CFD5F0B}"/>
                </a:ext>
              </a:extLst>
            </p:cNvPr>
            <p:cNvSpPr>
              <a:spLocks/>
            </p:cNvSpPr>
            <p:nvPr/>
          </p:nvSpPr>
          <p:spPr bwMode="auto">
            <a:xfrm rot="10800000">
              <a:off x="9189779" y="634162"/>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chemeClr val="accent3"/>
                </a:gs>
                <a:gs pos="100000">
                  <a:srgbClr val="FF6933"/>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DIN Next LT Arabic"/>
                <a:ea typeface="+mn-ea"/>
                <a:cs typeface="DIN Next LT Arabic" panose="020B0503020203050203" pitchFamily="34" charset="-78"/>
                <a:sym typeface="Arial" panose="020B0604020202020204" pitchFamily="34" charset="0"/>
              </a:endParaRPr>
            </a:p>
          </p:txBody>
        </p:sp>
      </p:grpSp>
      <p:sp>
        <p:nvSpPr>
          <p:cNvPr id="23" name="Title 2">
            <a:extLst>
              <a:ext uri="{FF2B5EF4-FFF2-40B4-BE49-F238E27FC236}">
                <a16:creationId xmlns:a16="http://schemas.microsoft.com/office/drawing/2014/main" id="{335917E9-CEC8-48C4-8003-1EEDFEA4230F}"/>
              </a:ext>
            </a:extLst>
          </p:cNvPr>
          <p:cNvSpPr txBox="1">
            <a:spLocks/>
          </p:cNvSpPr>
          <p:nvPr/>
        </p:nvSpPr>
        <p:spPr>
          <a:xfrm>
            <a:off x="686280" y="225678"/>
            <a:ext cx="10284758" cy="6647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endParaRPr kumimoji="0" lang="en-US" sz="3200" b="1" i="0" u="none" strike="noStrike" kern="1200" cap="none" spc="0" normalizeH="0" baseline="0" noProof="0" dirty="0">
              <a:ln>
                <a:noFill/>
              </a:ln>
              <a:solidFill>
                <a:srgbClr val="FFFFFF"/>
              </a:solidFill>
              <a:effectLst/>
              <a:uLnTx/>
              <a:uFillTx/>
              <a:latin typeface="DIN Next LT Arabic Medium" panose="020B0603020203050203" pitchFamily="34" charset="-78"/>
              <a:ea typeface="+mj-ea"/>
              <a:cs typeface="DIN Next LT Arabic Medium" panose="020B0603020203050203" pitchFamily="34" charset="-78"/>
              <a:sym typeface="Arial" panose="020B0604020202020204" pitchFamily="34" charset="0"/>
            </a:endParaRPr>
          </a:p>
        </p:txBody>
      </p:sp>
      <p:sp>
        <p:nvSpPr>
          <p:cNvPr id="65" name="Title 2">
            <a:extLst>
              <a:ext uri="{FF2B5EF4-FFF2-40B4-BE49-F238E27FC236}">
                <a16:creationId xmlns:a16="http://schemas.microsoft.com/office/drawing/2014/main" id="{A230C23B-9F8A-4B27-9CD2-BC6D2FFEB17F}"/>
              </a:ext>
            </a:extLst>
          </p:cNvPr>
          <p:cNvSpPr txBox="1">
            <a:spLocks/>
          </p:cNvSpPr>
          <p:nvPr/>
        </p:nvSpPr>
        <p:spPr>
          <a:xfrm>
            <a:off x="838680" y="378078"/>
            <a:ext cx="10284758" cy="6647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2" name="TextBox 1">
            <a:extLst>
              <a:ext uri="{FF2B5EF4-FFF2-40B4-BE49-F238E27FC236}">
                <a16:creationId xmlns:a16="http://schemas.microsoft.com/office/drawing/2014/main" id="{03C28CC2-611F-F54C-A2C9-4CAC5FFD9C16}"/>
              </a:ext>
            </a:extLst>
          </p:cNvPr>
          <p:cNvSpPr txBox="1"/>
          <p:nvPr/>
        </p:nvSpPr>
        <p:spPr>
          <a:xfrm>
            <a:off x="418999" y="313018"/>
            <a:ext cx="11086721"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4000" b="1" dirty="0">
                <a:solidFill>
                  <a:srgbClr val="D26809"/>
                </a:solidFill>
              </a:rPr>
              <a:t>Handwritten Arabic Letter Recognition</a:t>
            </a:r>
            <a:endParaRPr lang="en-SA" sz="4000" b="1" dirty="0">
              <a:solidFill>
                <a:srgbClr val="D26809"/>
              </a:solidFill>
            </a:endParaRPr>
          </a:p>
        </p:txBody>
      </p:sp>
      <p:sp>
        <p:nvSpPr>
          <p:cNvPr id="3" name="TextBox 2">
            <a:extLst>
              <a:ext uri="{FF2B5EF4-FFF2-40B4-BE49-F238E27FC236}">
                <a16:creationId xmlns:a16="http://schemas.microsoft.com/office/drawing/2014/main" id="{2AA2D6BC-AC79-EE43-B908-774BBD6600B9}"/>
              </a:ext>
            </a:extLst>
          </p:cNvPr>
          <p:cNvSpPr txBox="1"/>
          <p:nvPr/>
        </p:nvSpPr>
        <p:spPr>
          <a:xfrm>
            <a:off x="418999" y="1508074"/>
            <a:ext cx="10552039" cy="46795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A" b="1" dirty="0">
                <a:solidFill>
                  <a:schemeClr val="accent2"/>
                </a:solidFill>
              </a:rPr>
              <a:t>Description</a:t>
            </a:r>
          </a:p>
          <a:p>
            <a:r>
              <a:rPr lang="en-US" dirty="0"/>
              <a:t>Optical Character Recognition (OCR) is the process of identifying characters in images of texts, whether the texts are handwritten or printed. It is an important process for book digitization and data entry.</a:t>
            </a:r>
          </a:p>
          <a:p>
            <a:r>
              <a:rPr lang="en-US" dirty="0"/>
              <a:t>You will design a system to recognize individual handwritten Arabic letters from images. This is a classification task, where the Arabic letters are the labels and the features are extracted from the images in the dataset. </a:t>
            </a:r>
          </a:p>
          <a:p>
            <a:r>
              <a:rPr lang="en-US" dirty="0">
                <a:solidFill>
                  <a:schemeClr val="bg1"/>
                </a:solidFill>
              </a:rPr>
              <a:t>As an additional challenge demonstrate the use your system to design a CAPTCH scheme.</a:t>
            </a:r>
            <a:endParaRPr lang="en-SA" dirty="0">
              <a:solidFill>
                <a:schemeClr val="bg1"/>
              </a:solidFill>
            </a:endParaRPr>
          </a:p>
          <a:p>
            <a:endParaRPr lang="en-SA" b="1" dirty="0">
              <a:solidFill>
                <a:schemeClr val="accent2"/>
              </a:solidFill>
            </a:endParaRPr>
          </a:p>
          <a:p>
            <a:endParaRPr lang="en-SA" b="1" dirty="0">
              <a:solidFill>
                <a:schemeClr val="bg1"/>
              </a:solidFill>
            </a:endParaRPr>
          </a:p>
          <a:p>
            <a:endParaRPr lang="en-SA" b="1" dirty="0">
              <a:solidFill>
                <a:schemeClr val="bg1"/>
              </a:solidFill>
            </a:endParaRPr>
          </a:p>
          <a:p>
            <a:endParaRPr lang="en-SA" b="1" dirty="0">
              <a:solidFill>
                <a:schemeClr val="bg1"/>
              </a:solidFill>
            </a:endParaRPr>
          </a:p>
          <a:p>
            <a:r>
              <a:rPr lang="en-SA" b="1" dirty="0">
                <a:solidFill>
                  <a:schemeClr val="accent2"/>
                </a:solidFill>
              </a:rPr>
              <a:t>Datasets and Resources</a:t>
            </a:r>
            <a:endParaRPr lang="en-SA" b="1" dirty="0">
              <a:solidFill>
                <a:schemeClr val="bg1"/>
              </a:solidFill>
            </a:endParaRPr>
          </a:p>
          <a:p>
            <a:r>
              <a:rPr lang="en-US" u="sng" dirty="0">
                <a:hlinkClick r:id="rId5"/>
              </a:rPr>
              <a:t>https://www.kaggle.com/mloey1/ahcd1</a:t>
            </a:r>
            <a:br>
              <a:rPr lang="en-US" u="sng" dirty="0">
                <a:hlinkClick r:id="rId5"/>
              </a:rPr>
            </a:br>
            <a:r>
              <a:rPr lang="en-US" u="sng" dirty="0">
                <a:hlinkClick r:id="rId5"/>
              </a:rPr>
              <a:t>https://github.com/israksu/Hijja2</a:t>
            </a:r>
            <a:endParaRPr lang="en-SA" dirty="0">
              <a:solidFill>
                <a:schemeClr val="tx1"/>
              </a:solidFill>
            </a:endParaRPr>
          </a:p>
        </p:txBody>
      </p:sp>
    </p:spTree>
    <p:extLst>
      <p:ext uri="{BB962C8B-B14F-4D97-AF65-F5344CB8AC3E}">
        <p14:creationId xmlns:p14="http://schemas.microsoft.com/office/powerpoint/2010/main" val="2515425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73000">
              <a:schemeClr val="accent3">
                <a:lumMod val="75000"/>
              </a:schemeClr>
            </a:gs>
            <a:gs pos="0">
              <a:srgbClr val="FF6933"/>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C58F5B-35D2-EC44-BD13-38A164110FF9}"/>
              </a:ext>
            </a:extLst>
          </p:cNvPr>
          <p:cNvPicPr>
            <a:picLocks noChangeAspect="1"/>
          </p:cNvPicPr>
          <p:nvPr/>
        </p:nvPicPr>
        <p:blipFill>
          <a:blip r:embed="rId4">
            <a:alphaModFix amt="20000"/>
            <a:extLst>
              <a:ext uri="{28A0092B-C50C-407E-A947-70E740481C1C}">
                <a14:useLocalDpi xmlns:a14="http://schemas.microsoft.com/office/drawing/2010/main"/>
              </a:ext>
            </a:extLst>
          </a:blip>
          <a:stretch>
            <a:fillRect/>
          </a:stretch>
        </p:blipFill>
        <p:spPr>
          <a:xfrm>
            <a:off x="0" y="1562"/>
            <a:ext cx="12192000" cy="6854092"/>
          </a:xfrm>
          <a:prstGeom prst="rect">
            <a:avLst/>
          </a:prstGeom>
        </p:spPr>
      </p:pic>
      <p:grpSp>
        <p:nvGrpSpPr>
          <p:cNvPr id="20" name="Group 19">
            <a:extLst>
              <a:ext uri="{FF2B5EF4-FFF2-40B4-BE49-F238E27FC236}">
                <a16:creationId xmlns:a16="http://schemas.microsoft.com/office/drawing/2014/main" id="{E1C9A82A-50CD-4DB5-A129-4F8251A98102}"/>
              </a:ext>
            </a:extLst>
          </p:cNvPr>
          <p:cNvGrpSpPr/>
          <p:nvPr/>
        </p:nvGrpSpPr>
        <p:grpSpPr>
          <a:xfrm>
            <a:off x="11390718" y="231876"/>
            <a:ext cx="381602" cy="801026"/>
            <a:chOff x="9189779" y="292930"/>
            <a:chExt cx="365473" cy="767170"/>
          </a:xfrm>
        </p:grpSpPr>
        <p:sp>
          <p:nvSpPr>
            <p:cNvPr id="21" name="Freeform 51">
              <a:extLst>
                <a:ext uri="{FF2B5EF4-FFF2-40B4-BE49-F238E27FC236}">
                  <a16:creationId xmlns:a16="http://schemas.microsoft.com/office/drawing/2014/main" id="{1E9E9BC5-07BC-49AD-B9AB-6F068E1B8764}"/>
                </a:ext>
              </a:extLst>
            </p:cNvPr>
            <p:cNvSpPr>
              <a:spLocks/>
            </p:cNvSpPr>
            <p:nvPr/>
          </p:nvSpPr>
          <p:spPr bwMode="auto">
            <a:xfrm>
              <a:off x="9189779" y="292930"/>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DB249"/>
                </a:gs>
                <a:gs pos="100000">
                  <a:srgbClr val="FF6933"/>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DIN Next LT Arabic"/>
                <a:ea typeface="+mn-ea"/>
                <a:cs typeface="DIN Next LT Arabic" panose="020B0503020203050203" pitchFamily="34" charset="-78"/>
                <a:sym typeface="Arial" panose="020B0604020202020204" pitchFamily="34" charset="0"/>
              </a:endParaRPr>
            </a:p>
          </p:txBody>
        </p:sp>
        <p:sp>
          <p:nvSpPr>
            <p:cNvPr id="22" name="Freeform 52">
              <a:extLst>
                <a:ext uri="{FF2B5EF4-FFF2-40B4-BE49-F238E27FC236}">
                  <a16:creationId xmlns:a16="http://schemas.microsoft.com/office/drawing/2014/main" id="{3713A0D1-7CBD-4D95-BB3D-05C63CFD5F0B}"/>
                </a:ext>
              </a:extLst>
            </p:cNvPr>
            <p:cNvSpPr>
              <a:spLocks/>
            </p:cNvSpPr>
            <p:nvPr/>
          </p:nvSpPr>
          <p:spPr bwMode="auto">
            <a:xfrm rot="10800000">
              <a:off x="9189779" y="634162"/>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chemeClr val="accent3"/>
                </a:gs>
                <a:gs pos="100000">
                  <a:srgbClr val="FF6933"/>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DIN Next LT Arabic"/>
                <a:ea typeface="+mn-ea"/>
                <a:cs typeface="DIN Next LT Arabic" panose="020B0503020203050203" pitchFamily="34" charset="-78"/>
                <a:sym typeface="Arial" panose="020B0604020202020204" pitchFamily="34" charset="0"/>
              </a:endParaRPr>
            </a:p>
          </p:txBody>
        </p:sp>
      </p:grpSp>
      <p:sp>
        <p:nvSpPr>
          <p:cNvPr id="23" name="Title 2">
            <a:extLst>
              <a:ext uri="{FF2B5EF4-FFF2-40B4-BE49-F238E27FC236}">
                <a16:creationId xmlns:a16="http://schemas.microsoft.com/office/drawing/2014/main" id="{335917E9-CEC8-48C4-8003-1EEDFEA4230F}"/>
              </a:ext>
            </a:extLst>
          </p:cNvPr>
          <p:cNvSpPr txBox="1">
            <a:spLocks/>
          </p:cNvSpPr>
          <p:nvPr/>
        </p:nvSpPr>
        <p:spPr>
          <a:xfrm>
            <a:off x="686280" y="225678"/>
            <a:ext cx="10284758" cy="6647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endParaRPr kumimoji="0" lang="en-US" sz="3200" b="1" i="0" u="none" strike="noStrike" kern="1200" cap="none" spc="0" normalizeH="0" baseline="0" noProof="0" dirty="0">
              <a:ln>
                <a:noFill/>
              </a:ln>
              <a:solidFill>
                <a:srgbClr val="FFFFFF"/>
              </a:solidFill>
              <a:effectLst/>
              <a:uLnTx/>
              <a:uFillTx/>
              <a:latin typeface="DIN Next LT Arabic Medium" panose="020B0603020203050203" pitchFamily="34" charset="-78"/>
              <a:ea typeface="+mj-ea"/>
              <a:cs typeface="DIN Next LT Arabic Medium" panose="020B0603020203050203" pitchFamily="34" charset="-78"/>
              <a:sym typeface="Arial" panose="020B0604020202020204" pitchFamily="34" charset="0"/>
            </a:endParaRPr>
          </a:p>
        </p:txBody>
      </p:sp>
      <p:sp>
        <p:nvSpPr>
          <p:cNvPr id="65" name="Title 2">
            <a:extLst>
              <a:ext uri="{FF2B5EF4-FFF2-40B4-BE49-F238E27FC236}">
                <a16:creationId xmlns:a16="http://schemas.microsoft.com/office/drawing/2014/main" id="{A230C23B-9F8A-4B27-9CD2-BC6D2FFEB17F}"/>
              </a:ext>
            </a:extLst>
          </p:cNvPr>
          <p:cNvSpPr txBox="1">
            <a:spLocks/>
          </p:cNvSpPr>
          <p:nvPr/>
        </p:nvSpPr>
        <p:spPr>
          <a:xfrm>
            <a:off x="838680" y="378078"/>
            <a:ext cx="10284758" cy="6647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41" name="TextBox 40">
            <a:extLst>
              <a:ext uri="{FF2B5EF4-FFF2-40B4-BE49-F238E27FC236}">
                <a16:creationId xmlns:a16="http://schemas.microsoft.com/office/drawing/2014/main" id="{944B8A27-B200-6746-B739-D761EA4F365B}"/>
              </a:ext>
            </a:extLst>
          </p:cNvPr>
          <p:cNvSpPr txBox="1"/>
          <p:nvPr/>
        </p:nvSpPr>
        <p:spPr>
          <a:xfrm>
            <a:off x="418999" y="313018"/>
            <a:ext cx="11353321"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4000" b="1" dirty="0">
                <a:solidFill>
                  <a:schemeClr val="accent2"/>
                </a:solidFill>
              </a:rPr>
              <a:t>Authorship Attribution</a:t>
            </a:r>
            <a:endParaRPr lang="en-SA" sz="4000" b="1" dirty="0">
              <a:solidFill>
                <a:schemeClr val="accent2"/>
              </a:solidFill>
            </a:endParaRPr>
          </a:p>
        </p:txBody>
      </p:sp>
      <p:sp>
        <p:nvSpPr>
          <p:cNvPr id="42" name="TextBox 41">
            <a:extLst>
              <a:ext uri="{FF2B5EF4-FFF2-40B4-BE49-F238E27FC236}">
                <a16:creationId xmlns:a16="http://schemas.microsoft.com/office/drawing/2014/main" id="{C857F6E2-BEA3-6C49-9FD1-AB49A49006D7}"/>
              </a:ext>
            </a:extLst>
          </p:cNvPr>
          <p:cNvSpPr txBox="1"/>
          <p:nvPr/>
        </p:nvSpPr>
        <p:spPr>
          <a:xfrm>
            <a:off x="418999" y="1508074"/>
            <a:ext cx="10552039" cy="46795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A" b="1" dirty="0">
                <a:solidFill>
                  <a:schemeClr val="accent2"/>
                </a:solidFill>
              </a:rPr>
              <a:t>Description</a:t>
            </a:r>
          </a:p>
          <a:p>
            <a:endParaRPr lang="en-SA" b="1" dirty="0">
              <a:solidFill>
                <a:schemeClr val="bg1"/>
              </a:solidFill>
            </a:endParaRPr>
          </a:p>
          <a:p>
            <a:r>
              <a:rPr lang="en-US" dirty="0"/>
              <a:t>The aim is to develop a model to automatically identify the authorship of Arabic text from a set</a:t>
            </a:r>
          </a:p>
          <a:p>
            <a:r>
              <a:rPr lang="en-US" dirty="0"/>
              <a:t>of preselected authors. There are a number of books in </a:t>
            </a:r>
            <a:r>
              <a:rPr lang="en-US" dirty="0" err="1"/>
              <a:t>Almaktaba</a:t>
            </a:r>
            <a:r>
              <a:rPr lang="en-US" dirty="0"/>
              <a:t> </a:t>
            </a:r>
            <a:r>
              <a:rPr lang="en-US" dirty="0" err="1"/>
              <a:t>Alshamela</a:t>
            </a:r>
            <a:r>
              <a:rPr lang="en-US" dirty="0"/>
              <a:t> Corpus with different authors, you need to detect the author from their writing style. This is a text classification task where the labels are the authors names. You will need to preprocess the textual files, identify the textual features to include, and then classify the texts.</a:t>
            </a:r>
          </a:p>
          <a:p>
            <a:endParaRPr lang="en-SA" b="1" dirty="0">
              <a:solidFill>
                <a:schemeClr val="bg1"/>
              </a:solidFill>
            </a:endParaRPr>
          </a:p>
          <a:p>
            <a:endParaRPr lang="en-SA" b="1" dirty="0">
              <a:solidFill>
                <a:schemeClr val="bg1"/>
              </a:solidFill>
            </a:endParaRPr>
          </a:p>
          <a:p>
            <a:endParaRPr lang="en-SA" b="1" dirty="0">
              <a:solidFill>
                <a:schemeClr val="bg1"/>
              </a:solidFill>
            </a:endParaRPr>
          </a:p>
          <a:p>
            <a:r>
              <a:rPr lang="en-SA" b="1" dirty="0">
                <a:solidFill>
                  <a:schemeClr val="accent2"/>
                </a:solidFill>
              </a:rPr>
              <a:t>Datasets and reso</a:t>
            </a:r>
            <a:r>
              <a:rPr lang="en-US" b="1" dirty="0">
                <a:solidFill>
                  <a:schemeClr val="accent2"/>
                </a:solidFill>
              </a:rPr>
              <a:t>u</a:t>
            </a:r>
            <a:r>
              <a:rPr lang="en-SA" b="1" dirty="0">
                <a:solidFill>
                  <a:schemeClr val="accent2"/>
                </a:solidFill>
              </a:rPr>
              <a:t>rces </a:t>
            </a:r>
            <a:endParaRPr lang="en-SA" b="1" dirty="0">
              <a:solidFill>
                <a:schemeClr val="bg1"/>
              </a:solidFill>
            </a:endParaRPr>
          </a:p>
          <a:p>
            <a:r>
              <a:rPr lang="en-US" u="sng" dirty="0">
                <a:hlinkClick r:id="rId5"/>
              </a:rPr>
              <a:t>https://sourceforge.net/projects/tashkeela/</a:t>
            </a:r>
            <a:r>
              <a:rPr lang="en-US" u="sng" dirty="0"/>
              <a:t> </a:t>
            </a:r>
            <a:endParaRPr lang="en-SA" dirty="0">
              <a:solidFill>
                <a:schemeClr val="tx1"/>
              </a:solidFill>
            </a:endParaRPr>
          </a:p>
        </p:txBody>
      </p:sp>
    </p:spTree>
    <p:extLst>
      <p:ext uri="{BB962C8B-B14F-4D97-AF65-F5344CB8AC3E}">
        <p14:creationId xmlns:p14="http://schemas.microsoft.com/office/powerpoint/2010/main" val="2815728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gradFill flip="none" rotWithShape="1">
          <a:gsLst>
            <a:gs pos="73000">
              <a:schemeClr val="accent3">
                <a:lumMod val="75000"/>
              </a:schemeClr>
            </a:gs>
            <a:gs pos="0">
              <a:srgbClr val="FF6933"/>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C58F5B-35D2-EC44-BD13-38A164110FF9}"/>
              </a:ext>
            </a:extLst>
          </p:cNvPr>
          <p:cNvPicPr>
            <a:picLocks noChangeAspect="1"/>
          </p:cNvPicPr>
          <p:nvPr/>
        </p:nvPicPr>
        <p:blipFill>
          <a:blip r:embed="rId4">
            <a:alphaModFix amt="20000"/>
            <a:extLst>
              <a:ext uri="{28A0092B-C50C-407E-A947-70E740481C1C}">
                <a14:useLocalDpi xmlns:a14="http://schemas.microsoft.com/office/drawing/2010/main"/>
              </a:ext>
            </a:extLst>
          </a:blip>
          <a:stretch>
            <a:fillRect/>
          </a:stretch>
        </p:blipFill>
        <p:spPr>
          <a:xfrm>
            <a:off x="0" y="1562"/>
            <a:ext cx="12192000" cy="6854092"/>
          </a:xfrm>
          <a:prstGeom prst="rect">
            <a:avLst/>
          </a:prstGeom>
        </p:spPr>
      </p:pic>
      <p:grpSp>
        <p:nvGrpSpPr>
          <p:cNvPr id="20" name="Group 19">
            <a:extLst>
              <a:ext uri="{FF2B5EF4-FFF2-40B4-BE49-F238E27FC236}">
                <a16:creationId xmlns:a16="http://schemas.microsoft.com/office/drawing/2014/main" id="{E1C9A82A-50CD-4DB5-A129-4F8251A98102}"/>
              </a:ext>
            </a:extLst>
          </p:cNvPr>
          <p:cNvGrpSpPr/>
          <p:nvPr/>
        </p:nvGrpSpPr>
        <p:grpSpPr>
          <a:xfrm>
            <a:off x="11390718" y="231876"/>
            <a:ext cx="381602" cy="801026"/>
            <a:chOff x="9189779" y="292930"/>
            <a:chExt cx="365473" cy="767170"/>
          </a:xfrm>
        </p:grpSpPr>
        <p:sp>
          <p:nvSpPr>
            <p:cNvPr id="21" name="Freeform 51">
              <a:extLst>
                <a:ext uri="{FF2B5EF4-FFF2-40B4-BE49-F238E27FC236}">
                  <a16:creationId xmlns:a16="http://schemas.microsoft.com/office/drawing/2014/main" id="{1E9E9BC5-07BC-49AD-B9AB-6F068E1B8764}"/>
                </a:ext>
              </a:extLst>
            </p:cNvPr>
            <p:cNvSpPr>
              <a:spLocks/>
            </p:cNvSpPr>
            <p:nvPr/>
          </p:nvSpPr>
          <p:spPr bwMode="auto">
            <a:xfrm>
              <a:off x="9189779" y="292930"/>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DB249"/>
                </a:gs>
                <a:gs pos="100000">
                  <a:srgbClr val="FF6933"/>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DIN Next LT Arabic"/>
                <a:ea typeface="+mn-ea"/>
                <a:cs typeface="DIN Next LT Arabic" panose="020B0503020203050203" pitchFamily="34" charset="-78"/>
                <a:sym typeface="Arial" panose="020B0604020202020204" pitchFamily="34" charset="0"/>
              </a:endParaRPr>
            </a:p>
          </p:txBody>
        </p:sp>
        <p:sp>
          <p:nvSpPr>
            <p:cNvPr id="22" name="Freeform 52">
              <a:extLst>
                <a:ext uri="{FF2B5EF4-FFF2-40B4-BE49-F238E27FC236}">
                  <a16:creationId xmlns:a16="http://schemas.microsoft.com/office/drawing/2014/main" id="{3713A0D1-7CBD-4D95-BB3D-05C63CFD5F0B}"/>
                </a:ext>
              </a:extLst>
            </p:cNvPr>
            <p:cNvSpPr>
              <a:spLocks/>
            </p:cNvSpPr>
            <p:nvPr/>
          </p:nvSpPr>
          <p:spPr bwMode="auto">
            <a:xfrm rot="10800000">
              <a:off x="9189779" y="634162"/>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chemeClr val="accent3"/>
                </a:gs>
                <a:gs pos="100000">
                  <a:srgbClr val="FF6933"/>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DIN Next LT Arabic"/>
                <a:ea typeface="+mn-ea"/>
                <a:cs typeface="DIN Next LT Arabic" panose="020B0503020203050203" pitchFamily="34" charset="-78"/>
                <a:sym typeface="Arial" panose="020B0604020202020204" pitchFamily="34" charset="0"/>
              </a:endParaRPr>
            </a:p>
          </p:txBody>
        </p:sp>
      </p:grpSp>
      <p:sp>
        <p:nvSpPr>
          <p:cNvPr id="23" name="Title 2">
            <a:extLst>
              <a:ext uri="{FF2B5EF4-FFF2-40B4-BE49-F238E27FC236}">
                <a16:creationId xmlns:a16="http://schemas.microsoft.com/office/drawing/2014/main" id="{335917E9-CEC8-48C4-8003-1EEDFEA4230F}"/>
              </a:ext>
            </a:extLst>
          </p:cNvPr>
          <p:cNvSpPr txBox="1">
            <a:spLocks/>
          </p:cNvSpPr>
          <p:nvPr/>
        </p:nvSpPr>
        <p:spPr>
          <a:xfrm>
            <a:off x="686280" y="225678"/>
            <a:ext cx="10284758" cy="6647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endParaRPr kumimoji="0" lang="en-US" sz="3200" b="1" i="0" u="none" strike="noStrike" kern="1200" cap="none" spc="0" normalizeH="0" baseline="0" noProof="0" dirty="0">
              <a:ln>
                <a:noFill/>
              </a:ln>
              <a:solidFill>
                <a:srgbClr val="FFFFFF"/>
              </a:solidFill>
              <a:effectLst/>
              <a:uLnTx/>
              <a:uFillTx/>
              <a:latin typeface="DIN Next LT Arabic Medium" panose="020B0603020203050203" pitchFamily="34" charset="-78"/>
              <a:ea typeface="+mj-ea"/>
              <a:cs typeface="DIN Next LT Arabic Medium" panose="020B0603020203050203" pitchFamily="34" charset="-78"/>
              <a:sym typeface="Arial" panose="020B0604020202020204" pitchFamily="34" charset="0"/>
            </a:endParaRPr>
          </a:p>
        </p:txBody>
      </p:sp>
      <p:sp>
        <p:nvSpPr>
          <p:cNvPr id="65" name="Title 2">
            <a:extLst>
              <a:ext uri="{FF2B5EF4-FFF2-40B4-BE49-F238E27FC236}">
                <a16:creationId xmlns:a16="http://schemas.microsoft.com/office/drawing/2014/main" id="{A230C23B-9F8A-4B27-9CD2-BC6D2FFEB17F}"/>
              </a:ext>
            </a:extLst>
          </p:cNvPr>
          <p:cNvSpPr txBox="1">
            <a:spLocks/>
          </p:cNvSpPr>
          <p:nvPr/>
        </p:nvSpPr>
        <p:spPr>
          <a:xfrm>
            <a:off x="838680" y="378078"/>
            <a:ext cx="10284758" cy="6647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41" name="TextBox 40">
            <a:extLst>
              <a:ext uri="{FF2B5EF4-FFF2-40B4-BE49-F238E27FC236}">
                <a16:creationId xmlns:a16="http://schemas.microsoft.com/office/drawing/2014/main" id="{944B8A27-B200-6746-B739-D761EA4F365B}"/>
              </a:ext>
            </a:extLst>
          </p:cNvPr>
          <p:cNvSpPr txBox="1"/>
          <p:nvPr/>
        </p:nvSpPr>
        <p:spPr>
          <a:xfrm>
            <a:off x="418999" y="313018"/>
            <a:ext cx="11353321"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4000" b="1" dirty="0">
                <a:solidFill>
                  <a:schemeClr val="accent2"/>
                </a:solidFill>
              </a:rPr>
              <a:t>Data Cleaning for Textual Documents</a:t>
            </a:r>
            <a:endParaRPr lang="en-SA" sz="4000" b="1" dirty="0">
              <a:solidFill>
                <a:schemeClr val="accent2"/>
              </a:solidFill>
            </a:endParaRPr>
          </a:p>
        </p:txBody>
      </p:sp>
      <p:sp>
        <p:nvSpPr>
          <p:cNvPr id="42" name="TextBox 41">
            <a:extLst>
              <a:ext uri="{FF2B5EF4-FFF2-40B4-BE49-F238E27FC236}">
                <a16:creationId xmlns:a16="http://schemas.microsoft.com/office/drawing/2014/main" id="{C857F6E2-BEA3-6C49-9FD1-AB49A49006D7}"/>
              </a:ext>
            </a:extLst>
          </p:cNvPr>
          <p:cNvSpPr txBox="1"/>
          <p:nvPr/>
        </p:nvSpPr>
        <p:spPr>
          <a:xfrm>
            <a:off x="418999" y="1508074"/>
            <a:ext cx="10552039" cy="46795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A" b="1" dirty="0">
                <a:solidFill>
                  <a:schemeClr val="accent2"/>
                </a:solidFill>
              </a:rPr>
              <a:t>Description</a:t>
            </a:r>
          </a:p>
          <a:p>
            <a:endParaRPr lang="en-SA" b="1" dirty="0">
              <a:solidFill>
                <a:schemeClr val="bg1"/>
              </a:solidFill>
            </a:endParaRPr>
          </a:p>
          <a:p>
            <a:r>
              <a:rPr lang="en-US" dirty="0"/>
              <a:t>Data cleaning for large scale datasets can be a daunting task. Automating the process of removing unneeded records is a very important problem in data science. To that end, you will develop a system that is able to help a data scientist organize his data based on type of utterance using the annotated dataset provided. The dataset is annotated with the type of utterance: comment, question, answer, or noise. Noise in this context refers to bot-generated advertisements in social media that do not contribute to discussion, or any other random text that is irrelevant. You will train a model to be able to classify a new utterance into one of these categories. Evaluate your model in terms of accuracy metrics used for similar NLP tasks.</a:t>
            </a:r>
            <a:endParaRPr lang="en-SA" b="1" dirty="0">
              <a:solidFill>
                <a:schemeClr val="bg1"/>
              </a:solidFill>
            </a:endParaRPr>
          </a:p>
          <a:p>
            <a:endParaRPr lang="en-SA" b="1" dirty="0">
              <a:solidFill>
                <a:schemeClr val="accent2"/>
              </a:solidFill>
            </a:endParaRPr>
          </a:p>
          <a:p>
            <a:endParaRPr lang="en-SA" b="1" dirty="0">
              <a:solidFill>
                <a:schemeClr val="bg1"/>
              </a:solidFill>
            </a:endParaRPr>
          </a:p>
          <a:p>
            <a:endParaRPr lang="en-SA" b="1" dirty="0">
              <a:solidFill>
                <a:schemeClr val="bg1"/>
              </a:solidFill>
            </a:endParaRPr>
          </a:p>
          <a:p>
            <a:r>
              <a:rPr lang="en-SA" b="1" dirty="0">
                <a:solidFill>
                  <a:schemeClr val="accent2"/>
                </a:solidFill>
              </a:rPr>
              <a:t>Datasets and Resources</a:t>
            </a:r>
          </a:p>
          <a:p>
            <a:r>
              <a:rPr lang="en-US" dirty="0">
                <a:solidFill>
                  <a:schemeClr val="accent2"/>
                </a:solidFill>
                <a:hlinkClick r:id="rId5"/>
              </a:rPr>
              <a:t>https://docs.google.com/spreadsheets/d/1W_D0HY2vBLDVuxPd7N7CQHm3VyUOZgmg/edit?usp=sharing&amp;ouid=104962839787494613994&amp;rtpof=true&amp;sd=true</a:t>
            </a:r>
            <a:endParaRPr lang="en-US" dirty="0">
              <a:solidFill>
                <a:schemeClr val="accent2"/>
              </a:solidFill>
            </a:endParaRPr>
          </a:p>
          <a:p>
            <a:endParaRPr lang="en-SA" b="1" dirty="0">
              <a:solidFill>
                <a:schemeClr val="accent2"/>
              </a:solidFill>
            </a:endParaRPr>
          </a:p>
        </p:txBody>
      </p:sp>
    </p:spTree>
    <p:extLst>
      <p:ext uri="{BB962C8B-B14F-4D97-AF65-F5344CB8AC3E}">
        <p14:creationId xmlns:p14="http://schemas.microsoft.com/office/powerpoint/2010/main" val="2027342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gradFill flip="none" rotWithShape="1">
          <a:gsLst>
            <a:gs pos="73000">
              <a:schemeClr val="accent3">
                <a:lumMod val="75000"/>
              </a:schemeClr>
            </a:gs>
            <a:gs pos="0">
              <a:srgbClr val="FF6933"/>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C58F5B-35D2-EC44-BD13-38A164110FF9}"/>
              </a:ext>
            </a:extLst>
          </p:cNvPr>
          <p:cNvPicPr>
            <a:picLocks noChangeAspect="1"/>
          </p:cNvPicPr>
          <p:nvPr/>
        </p:nvPicPr>
        <p:blipFill>
          <a:blip r:embed="rId4">
            <a:alphaModFix amt="20000"/>
            <a:extLst>
              <a:ext uri="{28A0092B-C50C-407E-A947-70E740481C1C}">
                <a14:useLocalDpi xmlns:a14="http://schemas.microsoft.com/office/drawing/2010/main"/>
              </a:ext>
            </a:extLst>
          </a:blip>
          <a:stretch>
            <a:fillRect/>
          </a:stretch>
        </p:blipFill>
        <p:spPr>
          <a:xfrm>
            <a:off x="0" y="1562"/>
            <a:ext cx="12192000" cy="6854092"/>
          </a:xfrm>
          <a:prstGeom prst="rect">
            <a:avLst/>
          </a:prstGeom>
        </p:spPr>
      </p:pic>
      <p:grpSp>
        <p:nvGrpSpPr>
          <p:cNvPr id="20" name="Group 19">
            <a:extLst>
              <a:ext uri="{FF2B5EF4-FFF2-40B4-BE49-F238E27FC236}">
                <a16:creationId xmlns:a16="http://schemas.microsoft.com/office/drawing/2014/main" id="{E1C9A82A-50CD-4DB5-A129-4F8251A98102}"/>
              </a:ext>
            </a:extLst>
          </p:cNvPr>
          <p:cNvGrpSpPr/>
          <p:nvPr/>
        </p:nvGrpSpPr>
        <p:grpSpPr>
          <a:xfrm>
            <a:off x="11390718" y="231876"/>
            <a:ext cx="381602" cy="801026"/>
            <a:chOff x="9189779" y="292930"/>
            <a:chExt cx="365473" cy="767170"/>
          </a:xfrm>
        </p:grpSpPr>
        <p:sp>
          <p:nvSpPr>
            <p:cNvPr id="21" name="Freeform 51">
              <a:extLst>
                <a:ext uri="{FF2B5EF4-FFF2-40B4-BE49-F238E27FC236}">
                  <a16:creationId xmlns:a16="http://schemas.microsoft.com/office/drawing/2014/main" id="{1E9E9BC5-07BC-49AD-B9AB-6F068E1B8764}"/>
                </a:ext>
              </a:extLst>
            </p:cNvPr>
            <p:cNvSpPr>
              <a:spLocks/>
            </p:cNvSpPr>
            <p:nvPr/>
          </p:nvSpPr>
          <p:spPr bwMode="auto">
            <a:xfrm>
              <a:off x="9189779" y="292930"/>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rgbClr val="FDB249"/>
                </a:gs>
                <a:gs pos="100000">
                  <a:srgbClr val="FF6933"/>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DIN Next LT Arabic"/>
                <a:ea typeface="+mn-ea"/>
                <a:cs typeface="DIN Next LT Arabic" panose="020B0503020203050203" pitchFamily="34" charset="-78"/>
                <a:sym typeface="Arial" panose="020B0604020202020204" pitchFamily="34" charset="0"/>
              </a:endParaRPr>
            </a:p>
          </p:txBody>
        </p:sp>
        <p:sp>
          <p:nvSpPr>
            <p:cNvPr id="22" name="Freeform 52">
              <a:extLst>
                <a:ext uri="{FF2B5EF4-FFF2-40B4-BE49-F238E27FC236}">
                  <a16:creationId xmlns:a16="http://schemas.microsoft.com/office/drawing/2014/main" id="{3713A0D1-7CBD-4D95-BB3D-05C63CFD5F0B}"/>
                </a:ext>
              </a:extLst>
            </p:cNvPr>
            <p:cNvSpPr>
              <a:spLocks/>
            </p:cNvSpPr>
            <p:nvPr/>
          </p:nvSpPr>
          <p:spPr bwMode="auto">
            <a:xfrm rot="10800000">
              <a:off x="9189779" y="634162"/>
              <a:ext cx="365473" cy="425938"/>
            </a:xfrm>
            <a:custGeom>
              <a:avLst/>
              <a:gdLst>
                <a:gd name="T0" fmla="*/ 0 w 272"/>
                <a:gd name="T1" fmla="*/ 317 h 317"/>
                <a:gd name="T2" fmla="*/ 0 w 272"/>
                <a:gd name="T3" fmla="*/ 0 h 317"/>
                <a:gd name="T4" fmla="*/ 272 w 272"/>
                <a:gd name="T5" fmla="*/ 158 h 317"/>
                <a:gd name="T6" fmla="*/ 0 w 272"/>
                <a:gd name="T7" fmla="*/ 317 h 317"/>
              </a:gdLst>
              <a:ahLst/>
              <a:cxnLst>
                <a:cxn ang="0">
                  <a:pos x="T0" y="T1"/>
                </a:cxn>
                <a:cxn ang="0">
                  <a:pos x="T2" y="T3"/>
                </a:cxn>
                <a:cxn ang="0">
                  <a:pos x="T4" y="T5"/>
                </a:cxn>
                <a:cxn ang="0">
                  <a:pos x="T6" y="T7"/>
                </a:cxn>
              </a:cxnLst>
              <a:rect l="0" t="0" r="r" b="b"/>
              <a:pathLst>
                <a:path w="272" h="317">
                  <a:moveTo>
                    <a:pt x="0" y="317"/>
                  </a:moveTo>
                  <a:lnTo>
                    <a:pt x="0" y="0"/>
                  </a:lnTo>
                  <a:lnTo>
                    <a:pt x="272" y="158"/>
                  </a:lnTo>
                  <a:lnTo>
                    <a:pt x="0" y="317"/>
                  </a:lnTo>
                  <a:close/>
                </a:path>
              </a:pathLst>
            </a:custGeom>
            <a:gradFill>
              <a:gsLst>
                <a:gs pos="0">
                  <a:schemeClr val="accent3"/>
                </a:gs>
                <a:gs pos="100000">
                  <a:srgbClr val="FF6933"/>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C8C8C"/>
                </a:solidFill>
                <a:effectLst/>
                <a:uLnTx/>
                <a:uFillTx/>
                <a:latin typeface="DIN Next LT Arabic"/>
                <a:ea typeface="+mn-ea"/>
                <a:cs typeface="DIN Next LT Arabic" panose="020B0503020203050203" pitchFamily="34" charset="-78"/>
                <a:sym typeface="Arial" panose="020B0604020202020204" pitchFamily="34" charset="0"/>
              </a:endParaRPr>
            </a:p>
          </p:txBody>
        </p:sp>
      </p:grpSp>
      <p:sp>
        <p:nvSpPr>
          <p:cNvPr id="23" name="Title 2">
            <a:extLst>
              <a:ext uri="{FF2B5EF4-FFF2-40B4-BE49-F238E27FC236}">
                <a16:creationId xmlns:a16="http://schemas.microsoft.com/office/drawing/2014/main" id="{335917E9-CEC8-48C4-8003-1EEDFEA4230F}"/>
              </a:ext>
            </a:extLst>
          </p:cNvPr>
          <p:cNvSpPr txBox="1">
            <a:spLocks/>
          </p:cNvSpPr>
          <p:nvPr/>
        </p:nvSpPr>
        <p:spPr>
          <a:xfrm>
            <a:off x="686280" y="225678"/>
            <a:ext cx="10284758" cy="6647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endParaRPr kumimoji="0" lang="en-US" sz="3200" b="1" i="0" u="none" strike="noStrike" kern="1200" cap="none" spc="0" normalizeH="0" baseline="0" noProof="0" dirty="0">
              <a:ln>
                <a:noFill/>
              </a:ln>
              <a:solidFill>
                <a:srgbClr val="FFFFFF"/>
              </a:solidFill>
              <a:effectLst/>
              <a:uLnTx/>
              <a:uFillTx/>
              <a:latin typeface="DIN Next LT Arabic Medium" panose="020B0603020203050203" pitchFamily="34" charset="-78"/>
              <a:ea typeface="+mj-ea"/>
              <a:cs typeface="DIN Next LT Arabic Medium" panose="020B0603020203050203" pitchFamily="34" charset="-78"/>
              <a:sym typeface="Arial" panose="020B0604020202020204" pitchFamily="34" charset="0"/>
            </a:endParaRPr>
          </a:p>
        </p:txBody>
      </p:sp>
      <p:sp>
        <p:nvSpPr>
          <p:cNvPr id="65" name="Title 2">
            <a:extLst>
              <a:ext uri="{FF2B5EF4-FFF2-40B4-BE49-F238E27FC236}">
                <a16:creationId xmlns:a16="http://schemas.microsoft.com/office/drawing/2014/main" id="{A230C23B-9F8A-4B27-9CD2-BC6D2FFEB17F}"/>
              </a:ext>
            </a:extLst>
          </p:cNvPr>
          <p:cNvSpPr txBox="1">
            <a:spLocks/>
          </p:cNvSpPr>
          <p:nvPr/>
        </p:nvSpPr>
        <p:spPr>
          <a:xfrm>
            <a:off x="838680" y="378078"/>
            <a:ext cx="10284758" cy="6647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DIN Next LT Arabic" panose="020B0503020203050203" pitchFamily="34" charset="-78"/>
                <a:ea typeface="+mj-ea"/>
                <a:cs typeface="DIN Next LT Arabic" panose="020B0503020203050203" pitchFamily="34" charset="-78"/>
                <a:sym typeface="Arial" panose="020B0604020202020204" pitchFamily="34" charset="0"/>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DIN Next LT Arabic" panose="020B0503020203050203" pitchFamily="34" charset="-78"/>
              <a:ea typeface="+mj-ea"/>
              <a:cs typeface="DIN Next LT Arabic" panose="020B0503020203050203" pitchFamily="34" charset="-78"/>
              <a:sym typeface="Arial" panose="020B0604020202020204" pitchFamily="34" charset="0"/>
            </a:endParaRPr>
          </a:p>
        </p:txBody>
      </p:sp>
      <p:sp>
        <p:nvSpPr>
          <p:cNvPr id="41" name="TextBox 40">
            <a:extLst>
              <a:ext uri="{FF2B5EF4-FFF2-40B4-BE49-F238E27FC236}">
                <a16:creationId xmlns:a16="http://schemas.microsoft.com/office/drawing/2014/main" id="{944B8A27-B200-6746-B739-D761EA4F365B}"/>
              </a:ext>
            </a:extLst>
          </p:cNvPr>
          <p:cNvSpPr txBox="1"/>
          <p:nvPr/>
        </p:nvSpPr>
        <p:spPr>
          <a:xfrm>
            <a:off x="418999" y="313018"/>
            <a:ext cx="11353321"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4000" b="1" dirty="0">
                <a:solidFill>
                  <a:schemeClr val="accent2"/>
                </a:solidFill>
              </a:rPr>
              <a:t>Named Entity Recognition System for Government Services </a:t>
            </a:r>
            <a:endParaRPr lang="en-SA" sz="4000" b="1" dirty="0">
              <a:solidFill>
                <a:schemeClr val="accent2"/>
              </a:solidFill>
            </a:endParaRPr>
          </a:p>
        </p:txBody>
      </p:sp>
      <p:sp>
        <p:nvSpPr>
          <p:cNvPr id="42" name="TextBox 41">
            <a:extLst>
              <a:ext uri="{FF2B5EF4-FFF2-40B4-BE49-F238E27FC236}">
                <a16:creationId xmlns:a16="http://schemas.microsoft.com/office/drawing/2014/main" id="{C857F6E2-BEA3-6C49-9FD1-AB49A49006D7}"/>
              </a:ext>
            </a:extLst>
          </p:cNvPr>
          <p:cNvSpPr txBox="1"/>
          <p:nvPr/>
        </p:nvSpPr>
        <p:spPr>
          <a:xfrm>
            <a:off x="418999" y="1508074"/>
            <a:ext cx="10552039" cy="46795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A" b="1" dirty="0">
                <a:solidFill>
                  <a:schemeClr val="accent2"/>
                </a:solidFill>
              </a:rPr>
              <a:t>Description</a:t>
            </a:r>
          </a:p>
          <a:p>
            <a:r>
              <a:rPr lang="en-US" dirty="0">
                <a:solidFill>
                  <a:schemeClr val="bg1"/>
                </a:solidFill>
              </a:rPr>
              <a:t>Develop an Arabic named entity recognition system to identify entities of type "government services" using the dataset provided. This project will involve completing the following tasks:</a:t>
            </a:r>
          </a:p>
          <a:p>
            <a:endParaRPr lang="en-US" dirty="0">
              <a:solidFill>
                <a:schemeClr val="bg1"/>
              </a:solidFill>
            </a:endParaRPr>
          </a:p>
          <a:p>
            <a:pPr marL="342900" indent="-342900">
              <a:buFont typeface="+mj-lt"/>
              <a:buAutoNum type="arabicPeriod"/>
            </a:pPr>
            <a:r>
              <a:rPr lang="en-US" dirty="0">
                <a:solidFill>
                  <a:schemeClr val="bg1"/>
                </a:solidFill>
              </a:rPr>
              <a:t>Pre-processing the data: cleaning, stemming, normalization, de-duplication.</a:t>
            </a:r>
          </a:p>
          <a:p>
            <a:pPr marL="342900" indent="-342900">
              <a:buFont typeface="+mj-lt"/>
              <a:buAutoNum type="arabicPeriod"/>
            </a:pPr>
            <a:r>
              <a:rPr lang="en-US" dirty="0">
                <a:solidFill>
                  <a:schemeClr val="bg1"/>
                </a:solidFill>
              </a:rPr>
              <a:t>Annotate each data entry with the NERs occurring in it. Please follow standard annotation methods for NER. Ensure the data is balanced if needed.</a:t>
            </a:r>
          </a:p>
          <a:p>
            <a:pPr marL="342900" indent="-342900">
              <a:buFont typeface="+mj-lt"/>
              <a:buAutoNum type="arabicPeriod"/>
            </a:pPr>
            <a:r>
              <a:rPr lang="en-US" dirty="0">
                <a:solidFill>
                  <a:schemeClr val="bg1"/>
                </a:solidFill>
              </a:rPr>
              <a:t>Identify and generate additional features needed to develop a NER model.</a:t>
            </a:r>
          </a:p>
          <a:p>
            <a:pPr marL="342900" indent="-342900">
              <a:buFont typeface="+mj-lt"/>
              <a:buAutoNum type="arabicPeriod"/>
            </a:pPr>
            <a:r>
              <a:rPr lang="en-US" dirty="0">
                <a:solidFill>
                  <a:schemeClr val="bg1"/>
                </a:solidFill>
              </a:rPr>
              <a:t>Evaluate the NER performance using standard metrics for the task</a:t>
            </a:r>
            <a:r>
              <a:rPr lang="en-US" dirty="0"/>
              <a:t>. </a:t>
            </a:r>
            <a:endParaRPr lang="en-SA" dirty="0">
              <a:solidFill>
                <a:schemeClr val="bg1"/>
              </a:solidFill>
            </a:endParaRPr>
          </a:p>
          <a:p>
            <a:endParaRPr lang="en-SA" b="1" dirty="0">
              <a:solidFill>
                <a:schemeClr val="bg1"/>
              </a:solidFill>
            </a:endParaRPr>
          </a:p>
          <a:p>
            <a:endParaRPr lang="en-SA" b="1" dirty="0">
              <a:solidFill>
                <a:schemeClr val="bg1"/>
              </a:solidFill>
            </a:endParaRPr>
          </a:p>
          <a:p>
            <a:r>
              <a:rPr lang="en-SA" b="1" dirty="0">
                <a:solidFill>
                  <a:schemeClr val="accent2"/>
                </a:solidFill>
              </a:rPr>
              <a:t>Datasets and Resources</a:t>
            </a:r>
          </a:p>
          <a:p>
            <a:r>
              <a:rPr lang="en-US" dirty="0">
                <a:solidFill>
                  <a:schemeClr val="bg1"/>
                </a:solidFill>
                <a:hlinkClick r:id="rId5"/>
              </a:rPr>
              <a:t>https://docs.google.com/spreadsheets/d/1A4kLcDDnwgk4BIkNwFEE6Y-UIx2pvkoO/edit?usp=sharing&amp;ouid=104962839787494613994&amp;rtpof=true&amp;sd=true</a:t>
            </a:r>
            <a:endParaRPr lang="en-US" dirty="0">
              <a:solidFill>
                <a:schemeClr val="bg1"/>
              </a:solidFill>
            </a:endParaRPr>
          </a:p>
          <a:p>
            <a:endParaRPr lang="en-SA" b="1" dirty="0">
              <a:solidFill>
                <a:schemeClr val="bg1"/>
              </a:solidFill>
            </a:endParaRPr>
          </a:p>
        </p:txBody>
      </p:sp>
    </p:spTree>
    <p:extLst>
      <p:ext uri="{BB962C8B-B14F-4D97-AF65-F5344CB8AC3E}">
        <p14:creationId xmlns:p14="http://schemas.microsoft.com/office/powerpoint/2010/main" val="17130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3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_z5be2BMTThKVm03ZNaJ8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F2Aum4i_aAC2ENqfO_D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ggjkz7LwaQVH2FJPc2CSI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DtB.s8JFBmIj5I72IABeo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_bJ124YxSUPyJZZg8Id2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blrZycegvb3CtR0fps86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vmcpFofL8Uz__quRJWb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_bJ124YxSUPyJZZg8Id2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blrZycegvb3CtR0fps86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iBW5mnyuDvLCm17EYJrP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6eNcHBwN275A.u_E5v6YK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9m214zjRfNlLA8BuAUgu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iBW5mnyuDvLCm17EYJrP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5FJcKUqJQMD57Dvvwoja9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8AcDIcTsa.Ht8HOa9jtgM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4o4TcLbUJrV.h7TVwWKsA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Ndnr_dgyW.fElOwfbilzU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FFC_bbXfXdgeBzRar07g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lnpF_us8vwLbmafHL0FfL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z6Ni2PwLzBV1N7Hdta2A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tLWbyQ1MbTQ13owiJ0wLh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eNcHBwN275A.u_E5v6YK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nXqyqpbbXCaopKfD.U4wp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37WmPugHGIewQ8JPND1s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MoI5Y9Y.d2uOWenTqpOae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_z5be2BMTThKVm03ZNaJ8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JF2Aum4i_aAC2ENqfO_De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ggjkz7LwaQVH2FJPc2CSI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DtB.s8JFBmIj5I72IABeo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m214zjRfNlLA8BuAUguf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FJcKUqJQMD57Dvvwoja9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AcDIcTsa.Ht8HOa9jtgM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4TcLbUJrV.h7TVwWKsA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dnr_dgyW.fElOwfbilzU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ivmcpFofL8Uz__quRJWby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_bJ124YxSUPyJZZg8Id2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blrZycegvb3CtR0fps86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yiBW5mnyuDvLCm17EYJrP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6eNcHBwN275A.u_E5v6YK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9m214zjRfNlLA8BuAUguf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FFC_bbXfXdgeBzRar07g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5FJcKUqJQMD57Dvvwoja9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8AcDIcTsa.Ht8HOa9jtgM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4o4TcLbUJrV.h7TVwWKsA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Ndnr_dgyW.fElOwfbilz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FFFC_bbXfXdgeBzRar07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lnpF_us8vwLbmafHL0FfL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z6Ni2PwLzBV1N7Hdta2A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LWbyQ1MbTQ13owiJ0wLh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nXqyqpbbXCaopKfD.U4wp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npF_us8vwLbmafHL0FfL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37WmPugHGIewQ8JPND1sX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MoI5Y9Y.d2uOWenTqpOae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_z5be2BMTThKVm03ZNaJ8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F2Aum4i_aAC2ENqfO_De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ggjkz7LwaQVH2FJPc2CSI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DtB.s8JFBmIj5I72IABeo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z6Ni2PwLzBV1N7Hdta2A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ivmcpFofL8Uz__quRJWby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_bJ124YxSUPyJZZg8Id2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fblrZycegvb3CtR0fps86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iBW5mnyuDvLCm17EYJrP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6eNcHBwN275A.u_E5v6YK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9m214zjRfNlLA8BuAUguf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5FJcKUqJQMD57Dvvwoja9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LWbyQ1MbTQ13owiJ0wLh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8AcDIcTsa.Ht8HOa9jtgM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4o4TcLbUJrV.h7TVwWKsA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Ndnr_dgyW.fElOwfbilzU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FFFC_bbXfXdgeBzRar07g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npF_us8vwLbmafHL0FfL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gz6Ni2PwLzBV1N7Hdta2A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tLWbyQ1MbTQ13owiJ0wLh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nXqyqpbbXCaopKfD.U4wp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37WmPugHGIewQ8JPND1sX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MoI5Y9Y.d2uOWenTqpOae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XqyqpbbXCaopKfD.U4wp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_z5be2BMTThKVm03ZNaJ8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JF2Aum4i_aAC2ENqfO_De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ggjkz7LwaQVH2FJPc2CSI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DtB.s8JFBmIj5I72IABeo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7WmPugHGIewQ8JPND1sX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ivmcpFofL8Uz__quRJWb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_bJ124YxSUPyJZZg8Id2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fblrZycegvb3CtR0fps86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yiBW5mnyuDvLCm17EYJrP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6eNcHBwN275A.u_E5v6YK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9m214zjRfNlLA8BuAUgu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oI5Y9Y.d2uOWenTqpOae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5FJcKUqJQMD57Dvvwoja9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8AcDIcTsa.Ht8HOa9jtgM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4o4TcLbUJrV.h7TVwWKsA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Ndnr_dgyW.fElOwfbilzU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FFFC_bbXfXdgeBzRar07g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lnpF_us8vwLbmafHL0FfL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gz6Ni2PwLzBV1N7Hdta2A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LWbyQ1MbTQ13owiJ0wLh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_z5be2BMTThKVm03ZNaJ8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nXqyqpbbXCaopKfD.U4wp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37WmPugHGIewQ8JPND1sX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MoI5Y9Y.d2uOWenTqpOae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_z5be2BMTThKVm03ZNaJ8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JF2Aum4i_aAC2ENqfO_De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ggjkz7LwaQVH2FJPc2CSI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DtB.s8JFBmIj5I72IABeo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F2Aum4i_aAC2ENqfO_De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gjkz7LwaQVH2FJPc2CSI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tB.s8JFBmIj5I72IABeo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Zzy9FiDkZIYRO0GTcv3aI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1dVxf5aqVu3Jnqf7ayC3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a9GpMfVKecuTkoEH7WYo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vmcpFofL8Uz__quRJWb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_bJ124YxSUPyJZZg8Id2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blrZycegvb3CtR0fps86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OVLZldujMldTzvt9Y22o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iBW5mnyuDvLCm17EYJrP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6eNcHBwN275A.u_E5v6Y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9m214zjRfNlLA8BuAUgu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FJcKUqJQMD57Dvvwoja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AcDIcTsa.Ht8HOa9jtgM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4TcLbUJrV.h7TVwWKsA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dnr_dgyW.fElOwfbilzU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FFC_bbXfXdgeBzRar07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lnpF_us8vwLbmafHL0Ff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vmcpFofL8Uz__quRJWby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z6Ni2PwLzBV1N7Hdta2A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LWbyQ1MbTQ13owiJ0wLh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XqyqpbbXCaopKfD.U4wp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37WmPugHGIewQ8JPND1sX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oI5Y9Y.d2uOWenTqpOaeA"/>
</p:tagLst>
</file>

<file path=ppt/theme/theme1.xml><?xml version="1.0" encoding="utf-8"?>
<a:theme xmlns:a="http://schemas.openxmlformats.org/drawingml/2006/main" name="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10.xml><?xml version="1.0" encoding="utf-8"?>
<a:theme xmlns:a="http://schemas.openxmlformats.org/drawingml/2006/main" name="9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11.xml><?xml version="1.0" encoding="utf-8"?>
<a:theme xmlns:a="http://schemas.openxmlformats.org/drawingml/2006/main" name="10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12.xml><?xml version="1.0" encoding="utf-8"?>
<a:theme xmlns:a="http://schemas.openxmlformats.org/drawingml/2006/main" name="11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13.xml><?xml version="1.0" encoding="utf-8"?>
<a:theme xmlns:a="http://schemas.openxmlformats.org/drawingml/2006/main" name="12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14.xml><?xml version="1.0" encoding="utf-8"?>
<a:theme xmlns:a="http://schemas.openxmlformats.org/drawingml/2006/main" name="13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15.xml><?xml version="1.0" encoding="utf-8"?>
<a:theme xmlns:a="http://schemas.openxmlformats.org/drawingml/2006/main" name="14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16.xml><?xml version="1.0" encoding="utf-8"?>
<a:theme xmlns:a="http://schemas.openxmlformats.org/drawingml/2006/main" name="15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17.xml><?xml version="1.0" encoding="utf-8"?>
<a:theme xmlns:a="http://schemas.openxmlformats.org/drawingml/2006/main" name="16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18.xml><?xml version="1.0" encoding="utf-8"?>
<a:theme xmlns:a="http://schemas.openxmlformats.org/drawingml/2006/main" name="17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19.xml><?xml version="1.0" encoding="utf-8"?>
<a:theme xmlns:a="http://schemas.openxmlformats.org/drawingml/2006/main" name="18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2.xml><?xml version="1.0" encoding="utf-8"?>
<a:theme xmlns:a="http://schemas.openxmlformats.org/drawingml/2006/main" name="3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
      <a:majorFont>
        <a:latin typeface="DIN Next LT Arabic"/>
        <a:ea typeface=""/>
        <a:cs typeface=""/>
      </a:majorFont>
      <a:minorFont>
        <a:latin typeface="DIN Next LT Arabic"/>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4.xml><?xml version="1.0" encoding="utf-8"?>
<a:theme xmlns:a="http://schemas.openxmlformats.org/drawingml/2006/main" name="6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5.xml><?xml version="1.0" encoding="utf-8"?>
<a:theme xmlns:a="http://schemas.openxmlformats.org/drawingml/2006/main" name="2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6.xml><?xml version="1.0" encoding="utf-8"?>
<a:theme xmlns:a="http://schemas.openxmlformats.org/drawingml/2006/main" name="4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7.xml><?xml version="1.0" encoding="utf-8"?>
<a:theme xmlns:a="http://schemas.openxmlformats.org/drawingml/2006/main" name="5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8.xml><?xml version="1.0" encoding="utf-8"?>
<a:theme xmlns:a="http://schemas.openxmlformats.org/drawingml/2006/main" name="7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9.xml><?xml version="1.0" encoding="utf-8"?>
<a:theme xmlns:a="http://schemas.openxmlformats.org/drawingml/2006/main" name="8_NCAI Grid 16:9 English">
  <a:themeElements>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fontScheme name="Custom 10">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8C8C8C"/>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1"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ample slide_Grid 169" id="{E7A6891E-9EDF-4E09-82EB-9FA33DA37AEE}" vid="{A0CDABE2-D331-4CE0-8EEB-1E2BC12356B7}"/>
    </a:ext>
  </a:extLst>
</a:theme>
</file>

<file path=ppt/theme/themeOverride1.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0.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00.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01.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02.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03.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04.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05.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06.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07.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08.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09.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1.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10.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11.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12.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13.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14.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2.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3.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4.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5.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6.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7.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8.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19.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2.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20.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21.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22.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23.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24.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25.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26.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27.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28.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29.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3.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30.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31.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32.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33.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34.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35.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36.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37.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38.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39.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4.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40.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41.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42.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43.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44.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45.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46.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47.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48.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49.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5.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50.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51.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52.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53.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54.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55.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56.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57.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58.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59.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6.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60.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61.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62.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63.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64.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65.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66.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67.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68.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69.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7.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70.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71.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72.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73.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74.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75.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76.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77.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78.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79.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8.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80.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81.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82.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83.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84.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85.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86.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87.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88.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89.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9.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90.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91.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92.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93.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94.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95.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96.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97.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98.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ppt/theme/themeOverride99.xml><?xml version="1.0" encoding="utf-8"?>
<a:themeOverride xmlns:a="http://schemas.openxmlformats.org/drawingml/2006/main">
  <a:clrScheme name="NCAI">
    <a:dk1>
      <a:srgbClr val="8C8C8C"/>
    </a:dk1>
    <a:lt1>
      <a:srgbClr val="FFFFFF"/>
    </a:lt1>
    <a:dk2>
      <a:srgbClr val="F68D2E"/>
    </a:dk2>
    <a:lt2>
      <a:srgbClr val="F2F2F2"/>
    </a:lt2>
    <a:accent1>
      <a:srgbClr val="8C4606"/>
    </a:accent1>
    <a:accent2>
      <a:srgbClr val="D26809"/>
    </a:accent2>
    <a:accent3>
      <a:srgbClr val="273370"/>
    </a:accent3>
    <a:accent4>
      <a:srgbClr val="FAC696"/>
    </a:accent4>
    <a:accent5>
      <a:srgbClr val="8C8C8C"/>
    </a:accent5>
    <a:accent6>
      <a:srgbClr val="FDBD4D"/>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024DA888B91394B9F585C9FADFAD906" ma:contentTypeVersion="6" ma:contentTypeDescription="Create a new document." ma:contentTypeScope="" ma:versionID="b6b55e1748fbb510c9a5fa86cd7e40b9">
  <xsd:schema xmlns:xsd="http://www.w3.org/2001/XMLSchema" xmlns:xs="http://www.w3.org/2001/XMLSchema" xmlns:p="http://schemas.microsoft.com/office/2006/metadata/properties" xmlns:ns2="276ceda6-938e-4231-af1b-30db7bdda468" xmlns:ns3="4470cc28-a374-4c94-9939-d7f0231c39cb" targetNamespace="http://schemas.microsoft.com/office/2006/metadata/properties" ma:root="true" ma:fieldsID="644faf50b5e819e31b7fa1b3b275ff77" ns2:_="" ns3:_="">
    <xsd:import namespace="276ceda6-938e-4231-af1b-30db7bdda468"/>
    <xsd:import namespace="4470cc28-a374-4c94-9939-d7f0231c39c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6ceda6-938e-4231-af1b-30db7bdda4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470cc28-a374-4c94-9939-d7f0231c39c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0FAFBA-BE44-47A5-9E88-95B1ED25518A}">
  <ds:schemaRefs>
    <ds:schemaRef ds:uri="http://schemas.microsoft.com/sharepoint/v3/contenttype/forms"/>
  </ds:schemaRefs>
</ds:datastoreItem>
</file>

<file path=customXml/itemProps2.xml><?xml version="1.0" encoding="utf-8"?>
<ds:datastoreItem xmlns:ds="http://schemas.openxmlformats.org/officeDocument/2006/customXml" ds:itemID="{F716CCC4-9453-4566-9AE7-D0CE3D1AD0B0}">
  <ds:schemaRefs>
    <ds:schemaRef ds:uri="276ceda6-938e-4231-af1b-30db7bdda468"/>
    <ds:schemaRef ds:uri="4470cc28-a374-4c94-9939-d7f0231c39c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3EA1434-13F9-4DA3-8F41-F33DA1DCF51A}">
  <ds:schemaRefs>
    <ds:schemaRef ds:uri="4470cc28-a374-4c94-9939-d7f0231c39cb"/>
    <ds:schemaRef ds:uri="http://schemas.microsoft.com/office/2006/documentManagement/types"/>
    <ds:schemaRef ds:uri="276ceda6-938e-4231-af1b-30db7bdda468"/>
    <ds:schemaRef ds:uri="http://purl.org/dc/dcmitype/"/>
    <ds:schemaRef ds:uri="http://schemas.microsoft.com/office/infopath/2007/PartnerControls"/>
    <ds:schemaRef ds:uri="http://www.w3.org/XML/1998/namespace"/>
    <ds:schemaRef ds:uri="http://purl.org/dc/elements/1.1/"/>
    <ds:schemaRef ds:uri="http://schemas.microsoft.com/office/2006/metadata/properties"/>
    <ds:schemaRef ds:uri="http://purl.org/dc/term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otalTime>1164</TotalTime>
  <Words>545</Words>
  <Application>Microsoft Macintosh PowerPoint</Application>
  <PresentationFormat>Widescreen</PresentationFormat>
  <Paragraphs>48</Paragraphs>
  <Slides>5</Slides>
  <Notes>5</Notes>
  <HiddenSlides>0</HiddenSlides>
  <MMClips>0</MMClips>
  <ScaleCrop>false</ScaleCrop>
  <HeadingPairs>
    <vt:vector size="8" baseType="variant">
      <vt:variant>
        <vt:lpstr>Fonts Used</vt:lpstr>
      </vt:variant>
      <vt:variant>
        <vt:i4>8</vt:i4>
      </vt:variant>
      <vt:variant>
        <vt:lpstr>Theme</vt:lpstr>
      </vt:variant>
      <vt:variant>
        <vt:i4>19</vt:i4>
      </vt:variant>
      <vt:variant>
        <vt:lpstr>Embedded OLE Servers</vt:lpstr>
      </vt:variant>
      <vt:variant>
        <vt:i4>1</vt:i4>
      </vt:variant>
      <vt:variant>
        <vt:lpstr>Slide Titles</vt:lpstr>
      </vt:variant>
      <vt:variant>
        <vt:i4>5</vt:i4>
      </vt:variant>
    </vt:vector>
  </HeadingPairs>
  <TitlesOfParts>
    <vt:vector size="33" baseType="lpstr">
      <vt:lpstr>Arial</vt:lpstr>
      <vt:lpstr>Calibri</vt:lpstr>
      <vt:lpstr>DIN Next LT Arabic</vt:lpstr>
      <vt:lpstr>DIN Next LT Arabic Light</vt:lpstr>
      <vt:lpstr>DIN Next LT Arabic Medium</vt:lpstr>
      <vt:lpstr>Trebuchet MS</vt:lpstr>
      <vt:lpstr>Verdana</vt:lpstr>
      <vt:lpstr>Wingdings</vt:lpstr>
      <vt:lpstr>NCAI Grid 16:9 English</vt:lpstr>
      <vt:lpstr>3_NCAI Grid 16:9 English</vt:lpstr>
      <vt:lpstr>1_NCAI Grid 16:9 English</vt:lpstr>
      <vt:lpstr>6_NCAI Grid 16:9 English</vt:lpstr>
      <vt:lpstr>2_NCAI Grid 16:9 English</vt:lpstr>
      <vt:lpstr>4_NCAI Grid 16:9 English</vt:lpstr>
      <vt:lpstr>5_NCAI Grid 16:9 English</vt:lpstr>
      <vt:lpstr>7_NCAI Grid 16:9 English</vt:lpstr>
      <vt:lpstr>8_NCAI Grid 16:9 English</vt:lpstr>
      <vt:lpstr>9_NCAI Grid 16:9 English</vt:lpstr>
      <vt:lpstr>10_NCAI Grid 16:9 English</vt:lpstr>
      <vt:lpstr>11_NCAI Grid 16:9 English</vt:lpstr>
      <vt:lpstr>12_NCAI Grid 16:9 English</vt:lpstr>
      <vt:lpstr>13_NCAI Grid 16:9 English</vt:lpstr>
      <vt:lpstr>14_NCAI Grid 16:9 English</vt:lpstr>
      <vt:lpstr>15_NCAI Grid 16:9 English</vt:lpstr>
      <vt:lpstr>16_NCAI Grid 16:9 English</vt:lpstr>
      <vt:lpstr>17_NCAI Grid 16:9 English</vt:lpstr>
      <vt:lpstr>18_NCAI Grid 16:9 English</vt:lpstr>
      <vt:lpstr>think-cell Slide</vt:lpstr>
      <vt:lpstr>Capstone Projects </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DAIA – KSA Smart City Program</dc:title>
  <dc:creator>Warde, Joey</dc:creator>
  <cp:lastModifiedBy>Areeb Abdullah Hamad Alowisheq</cp:lastModifiedBy>
  <cp:revision>456</cp:revision>
  <dcterms:created xsi:type="dcterms:W3CDTF">2020-09-01T20:54:54Z</dcterms:created>
  <dcterms:modified xsi:type="dcterms:W3CDTF">2021-10-10T08:2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24DA888B91394B9F585C9FADFAD906</vt:lpwstr>
  </property>
  <property fmtid="{D5CDD505-2E9C-101B-9397-08002B2CF9AE}" pid="3" name="MSIP_Label_1bc0f418-96a4-4caf-9d7c-ccc5ec7f9d91_SetDate">
    <vt:lpwstr>2020-12-02T12:33:40Z</vt:lpwstr>
  </property>
  <property fmtid="{D5CDD505-2E9C-101B-9397-08002B2CF9AE}" pid="4" name="MSIP_Label_1bc0f418-96a4-4caf-9d7c-ccc5ec7f9d91_Method">
    <vt:lpwstr>Privileged</vt:lpwstr>
  </property>
  <property fmtid="{D5CDD505-2E9C-101B-9397-08002B2CF9AE}" pid="5" name="MSIP_Label_1bc0f418-96a4-4caf-9d7c-ccc5ec7f9d91_ContentBits">
    <vt:lpwstr>0</vt:lpwstr>
  </property>
  <property fmtid="{D5CDD505-2E9C-101B-9397-08002B2CF9AE}" pid="6" name="MSIP_Label_1bc0f418-96a4-4caf-9d7c-ccc5ec7f9d91_Name">
    <vt:lpwstr>1bc0f418-96a4-4caf-9d7c-ccc5ec7f9d91</vt:lpwstr>
  </property>
  <property fmtid="{D5CDD505-2E9C-101B-9397-08002B2CF9AE}" pid="7" name="MSIP_Label_1bc0f418-96a4-4caf-9d7c-ccc5ec7f9d91_Enabled">
    <vt:lpwstr>true</vt:lpwstr>
  </property>
  <property fmtid="{D5CDD505-2E9C-101B-9397-08002B2CF9AE}" pid="8" name="MSIP_Label_1bc0f418-96a4-4caf-9d7c-ccc5ec7f9d91_ActionId">
    <vt:lpwstr>57134a72-0a25-4407-aee1-dcacef9c5be6</vt:lpwstr>
  </property>
  <property fmtid="{D5CDD505-2E9C-101B-9397-08002B2CF9AE}" pid="9" name="MSIP_Label_1bc0f418-96a4-4caf-9d7c-ccc5ec7f9d91_SiteId">
    <vt:lpwstr>e0793d39-0939-496d-b129-198edd916feb</vt:lpwstr>
  </property>
</Properties>
</file>